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5"/>
  </p:sldMasterIdLst>
  <p:notesMasterIdLst>
    <p:notesMasterId r:id="rId19"/>
  </p:notesMasterIdLst>
  <p:handoutMasterIdLst>
    <p:handoutMasterId r:id="rId20"/>
  </p:handoutMasterIdLst>
  <p:sldIdLst>
    <p:sldId id="618" r:id="rId6"/>
    <p:sldId id="614" r:id="rId7"/>
    <p:sldId id="613" r:id="rId8"/>
    <p:sldId id="587" r:id="rId9"/>
    <p:sldId id="323" r:id="rId10"/>
    <p:sldId id="617" r:id="rId11"/>
    <p:sldId id="551" r:id="rId12"/>
    <p:sldId id="463" r:id="rId13"/>
    <p:sldId id="593" r:id="rId14"/>
    <p:sldId id="594" r:id="rId15"/>
    <p:sldId id="513" r:id="rId16"/>
    <p:sldId id="603" r:id="rId17"/>
    <p:sldId id="616" r:id="rId18"/>
  </p:sldIdLst>
  <p:sldSz cx="12192000" cy="6858000"/>
  <p:notesSz cx="9926638" cy="6797675"/>
  <p:custDataLst>
    <p:tags r:id="rId21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01" userDrawn="1">
          <p15:clr>
            <a:srgbClr val="A4A3A4"/>
          </p15:clr>
        </p15:guide>
        <p15:guide id="2" pos="3584" userDrawn="1">
          <p15:clr>
            <a:srgbClr val="A4A3A4"/>
          </p15:clr>
        </p15:guide>
        <p15:guide id="3" pos="7287" userDrawn="1">
          <p15:clr>
            <a:srgbClr val="A4A3A4"/>
          </p15:clr>
        </p15:guide>
        <p15:guide id="4" orient="horz" pos="210" userDrawn="1">
          <p15:clr>
            <a:srgbClr val="A4A3A4"/>
          </p15:clr>
        </p15:guide>
        <p15:guide id="5" orient="horz" pos="1548" userDrawn="1">
          <p15:clr>
            <a:srgbClr val="A4A3A4"/>
          </p15:clr>
        </p15:guide>
        <p15:guide id="6" orient="horz" pos="1337" userDrawn="1">
          <p15:clr>
            <a:srgbClr val="A4A3A4"/>
          </p15:clr>
        </p15:guide>
        <p15:guide id="7" orient="horz" pos="41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nusson, Karin (Kommunikation)" initials="MK(" lastIdx="1" clrIdx="0">
    <p:extLst>
      <p:ext uri="{19B8F6BF-5375-455C-9EA6-DF929625EA0E}">
        <p15:presenceInfo xmlns:p15="http://schemas.microsoft.com/office/powerpoint/2012/main" userId="S-1-5-21-647424381-1022977196-2854138024-108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llanmörkt forma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Inget format, tabellrutnä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883" y="67"/>
      </p:cViewPr>
      <p:guideLst>
        <p:guide pos="401"/>
        <p:guide pos="3584"/>
        <p:guide pos="7287"/>
        <p:guide orient="horz" pos="210"/>
        <p:guide orient="horz" pos="1548"/>
        <p:guide orient="horz" pos="1337"/>
        <p:guide orient="horz" pos="411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22" Type="http://schemas.openxmlformats.org/officeDocument/2006/relationships/commentAuthors" Target="commentAuthors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A207D2-6BC7-4C65-B4B7-E916F42D2066}" type="datetimeFigureOut">
              <a:rPr lang="sv-SE" smtClean="0"/>
              <a:t>2020-12-03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2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5622800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7786CC-1E97-4A54-8D86-29952CD299CF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554065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592141-416E-49B0-82D1-A68B9C506992}" type="datetimeFigureOut">
              <a:rPr lang="sv-SE" smtClean="0"/>
              <a:t>2020-12-03</a:t>
            </a:fld>
            <a:endParaRPr lang="sv-SE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dirty="0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2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5622800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863A3-F6DA-432C-A68C-0B1EB56ED58E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06493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863A3-F6DA-432C-A68C-0B1EB56ED58E}" type="slidenum">
              <a:rPr lang="sv-SE" smtClean="0"/>
              <a:t>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357372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863A3-F6DA-432C-A68C-0B1EB56ED58E}" type="slidenum">
              <a:rPr lang="sv-SE" smtClean="0"/>
              <a:t>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81209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863A3-F6DA-432C-A68C-0B1EB56ED58E}" type="slidenum">
              <a:rPr lang="sv-SE" smtClean="0"/>
              <a:t>4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61492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863A3-F6DA-432C-A68C-0B1EB56ED58E}" type="slidenum">
              <a:rPr lang="sv-SE" smtClean="0"/>
              <a:t>7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779874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863A3-F6DA-432C-A68C-0B1EB56ED58E}" type="slidenum">
              <a:rPr lang="sv-SE" smtClean="0"/>
              <a:t>8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7306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863A3-F6DA-432C-A68C-0B1EB56ED58E}" type="slidenum">
              <a:rPr lang="sv-SE" smtClean="0"/>
              <a:t>9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3386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863A3-F6DA-432C-A68C-0B1EB56ED58E}" type="slidenum">
              <a:rPr lang="sv-SE" smtClean="0"/>
              <a:t>10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469061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863A3-F6DA-432C-A68C-0B1EB56ED58E}" type="slidenum">
              <a:rPr lang="sv-SE" smtClean="0"/>
              <a:t>1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38873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863A3-F6DA-432C-A68C-0B1EB56ED58E}" type="slidenum">
              <a:rPr lang="sv-SE" smtClean="0"/>
              <a:t>1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02136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7" Type="http://schemas.openxmlformats.org/officeDocument/2006/relationships/image" Target="../media/image14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7" Type="http://schemas.openxmlformats.org/officeDocument/2006/relationships/image" Target="../media/image14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ed logo (start och slu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000" y="2513582"/>
            <a:ext cx="6120000" cy="1830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767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5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546775" y="1244177"/>
            <a:ext cx="4457523" cy="4516342"/>
          </a:xfrm>
          <a:prstGeom prst="rect">
            <a:avLst/>
          </a:prstGeom>
        </p:spPr>
      </p:pic>
      <p:sp>
        <p:nvSpPr>
          <p:cNvPr id="6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Kapitelrubrik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768011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68"/>
            <a:ext cx="8722800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6FBC7CC-2D48-41D3-8ACD-57F49752630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588" y="2122487"/>
            <a:ext cx="8721496" cy="41868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47112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i punkt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9" y="1386668"/>
            <a:ext cx="8722801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3" hasCustomPrompt="1"/>
          </p:nvPr>
        </p:nvSpPr>
        <p:spPr>
          <a:xfrm>
            <a:off x="636588" y="2122488"/>
            <a:ext cx="8721496" cy="4186800"/>
          </a:xfrm>
        </p:spPr>
        <p:txBody>
          <a:bodyPr/>
          <a:lstStyle>
            <a:lvl1pPr marL="178875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1pPr>
            <a:lvl2pPr marL="496375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2pPr>
            <a:lvl3pPr marL="726563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3pPr>
            <a:lvl4pPr marL="956750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4pPr>
            <a:lvl5pPr marL="1150425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sv-SE" dirty="0"/>
              <a:t>Text i punktform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816881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2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90" y="1386668"/>
            <a:ext cx="8722801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00F336D-DBFE-4C9A-82AE-717B5B00D81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6589" y="2122490"/>
            <a:ext cx="5051423" cy="418623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Text, Kolumn 1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3C4C8446-BE78-41AE-8D3B-33560118257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11927" y="2122488"/>
            <a:ext cx="5051423" cy="41862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Text, Kolumn 2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35084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68"/>
            <a:ext cx="5050800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0447795-8C25-49D7-BD81-3D0B302BA7E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6590" y="2122488"/>
            <a:ext cx="5051423" cy="41862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5" name="Platshållare för bild 4"/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66485" y="1386669"/>
            <a:ext cx="5400000" cy="4922054"/>
          </a:xfrm>
        </p:spPr>
        <p:txBody>
          <a:bodyPr/>
          <a:lstStyle>
            <a:lvl1pPr marL="0" indent="0">
              <a:buFontTx/>
              <a:buNone/>
              <a:defRPr sz="10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90994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kar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68"/>
            <a:ext cx="5050800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0447795-8C25-49D7-BD81-3D0B302BA7E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6590" y="2122488"/>
            <a:ext cx="5051423" cy="41862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ECF0B69C-1928-4742-9EF5-20AB25DF1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7740" y="1013462"/>
            <a:ext cx="3338155" cy="5249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432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bild med svart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154741" y="477766"/>
            <a:ext cx="3700460" cy="396421"/>
          </a:xfrm>
        </p:spPr>
        <p:txBody>
          <a:bodyPr anchor="t" anchorCtr="0"/>
          <a:lstStyle>
            <a:lvl1pPr>
              <a:defRPr sz="1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ruta 5"/>
          <p:cNvSpPr txBox="1"/>
          <p:nvPr userDrawn="1"/>
        </p:nvSpPr>
        <p:spPr>
          <a:xfrm>
            <a:off x="0" y="-363264"/>
            <a:ext cx="12192000" cy="24622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ör att byta</a:t>
            </a:r>
            <a:r>
              <a:rPr lang="sv-SE" sz="10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bakgrundsbild – </a:t>
            </a:r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Högerklicka på tomt utrymme</a:t>
            </a:r>
            <a:r>
              <a:rPr lang="sv-SE" sz="10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. Välj Formatera bakgrund/Fyllning/Bild eller strukturfyllning och välj sedan önskad bild.</a:t>
            </a:r>
            <a:endParaRPr lang="sv-SE" sz="10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00F83B-CF15-4618-B991-3799795FD8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4741" y="874185"/>
            <a:ext cx="3700460" cy="2205038"/>
          </a:xfrm>
        </p:spPr>
        <p:txBody>
          <a:bodyPr/>
          <a:lstStyle>
            <a:lvl1pPr marL="0" indent="0">
              <a:buFontTx/>
              <a:buNone/>
              <a:defRPr sz="1250"/>
            </a:lvl1pPr>
          </a:lstStyle>
          <a:p>
            <a:pPr lvl="0"/>
            <a:r>
              <a:rPr lang="sv-S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142604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d med vit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 bwMode="black">
          <a:xfrm>
            <a:off x="6154741" y="477766"/>
            <a:ext cx="3700460" cy="396421"/>
          </a:xfrm>
        </p:spPr>
        <p:txBody>
          <a:bodyPr anchor="t" anchorCtr="0"/>
          <a:lstStyle>
            <a:lvl1pPr>
              <a:defRPr sz="125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645303-2AAE-45D1-913A-B06AE6474513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textruta 5"/>
          <p:cNvSpPr txBox="1"/>
          <p:nvPr userDrawn="1"/>
        </p:nvSpPr>
        <p:spPr>
          <a:xfrm>
            <a:off x="0" y="-363264"/>
            <a:ext cx="12192000" cy="24622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ör att byta bakgrundsbild</a:t>
            </a:r>
            <a:r>
              <a:rPr lang="sv-SE" sz="10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– </a:t>
            </a:r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Högerklicka på tomt utrymme</a:t>
            </a:r>
            <a:r>
              <a:rPr lang="sv-SE" sz="10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. Välj Formatera bakgrund/Fyllning/Bild eller strukturfyllning och välj sedan önskad bild.</a:t>
            </a:r>
            <a:endParaRPr lang="sv-SE" sz="10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17109" y="402030"/>
            <a:ext cx="1008339" cy="302744"/>
          </a:xfrm>
          <a:prstGeom prst="rect">
            <a:avLst/>
          </a:prstGeom>
        </p:spPr>
      </p:pic>
      <p:cxnSp>
        <p:nvCxnSpPr>
          <p:cNvPr id="11" name="Rak koppling 10"/>
          <p:cNvCxnSpPr/>
          <p:nvPr userDrawn="1"/>
        </p:nvCxnSpPr>
        <p:spPr bwMode="white">
          <a:xfrm>
            <a:off x="636588" y="333375"/>
            <a:ext cx="10926763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DAF3677-266B-49CD-9490-D0BD83AD2D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4741" y="874185"/>
            <a:ext cx="3700460" cy="2205038"/>
          </a:xfrm>
        </p:spPr>
        <p:txBody>
          <a:bodyPr/>
          <a:lstStyle>
            <a:lvl1pPr marL="0" indent="0">
              <a:buFontTx/>
              <a:buNone/>
              <a:defRPr sz="1250">
                <a:solidFill>
                  <a:schemeClr val="bg1"/>
                </a:solidFill>
              </a:defRPr>
            </a:lvl1pPr>
            <a:lvl2pPr>
              <a:defRPr sz="1250">
                <a:solidFill>
                  <a:schemeClr val="bg1"/>
                </a:solidFill>
              </a:defRPr>
            </a:lvl2pPr>
            <a:lvl3pPr>
              <a:defRPr sz="1250">
                <a:solidFill>
                  <a:schemeClr val="bg1"/>
                </a:solidFill>
              </a:defRPr>
            </a:lvl3pPr>
            <a:lvl4pPr>
              <a:defRPr sz="1250">
                <a:solidFill>
                  <a:schemeClr val="bg1"/>
                </a:solidFill>
              </a:defRPr>
            </a:lvl4pPr>
            <a:lvl5pPr>
              <a:defRPr sz="125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525667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Platshållare för bild 4"/>
          <p:cNvSpPr>
            <a:spLocks noGrp="1"/>
          </p:cNvSpPr>
          <p:nvPr>
            <p:ph type="pic" sz="quarter" idx="18" hasCustomPrompt="1"/>
          </p:nvPr>
        </p:nvSpPr>
        <p:spPr>
          <a:xfrm>
            <a:off x="636588" y="1376363"/>
            <a:ext cx="10933811" cy="4931296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dirty="0"/>
              <a:t> 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981029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71"/>
            <a:ext cx="2066752" cy="351849"/>
          </a:xfrm>
        </p:spPr>
        <p:txBody>
          <a:bodyPr anchor="t" anchorCtr="0"/>
          <a:lstStyle>
            <a:lvl1pPr>
              <a:defRPr sz="1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09D2D10-4E2C-4B6E-AB5E-3A53EF579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588" y="1805940"/>
            <a:ext cx="2066752" cy="4501718"/>
          </a:xfrm>
        </p:spPr>
        <p:txBody>
          <a:bodyPr/>
          <a:lstStyle>
            <a:lvl1pPr marL="0" indent="0">
              <a:spcBef>
                <a:spcPts val="800"/>
              </a:spcBef>
              <a:buFontTx/>
              <a:buNone/>
              <a:defRPr sz="1250"/>
            </a:lvl1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5" name="Platshållare för bild 4"/>
          <p:cNvSpPr>
            <a:spLocks noGrp="1"/>
          </p:cNvSpPr>
          <p:nvPr>
            <p:ph type="pic" sz="quarter" idx="15" hasCustomPrompt="1"/>
          </p:nvPr>
        </p:nvSpPr>
        <p:spPr>
          <a:xfrm>
            <a:off x="2847340" y="1376363"/>
            <a:ext cx="4290840" cy="4931296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dirty="0"/>
              <a:t> 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11" name="Platshållare för bild 10"/>
          <p:cNvSpPr>
            <a:spLocks noGrp="1"/>
          </p:cNvSpPr>
          <p:nvPr>
            <p:ph type="pic" sz="quarter" idx="16" hasCustomPrompt="1"/>
          </p:nvPr>
        </p:nvSpPr>
        <p:spPr>
          <a:xfrm>
            <a:off x="7282180" y="1376362"/>
            <a:ext cx="4284000" cy="4931296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301108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2"/>
            <a:ext cx="5077929" cy="1300543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42976" y="2663071"/>
            <a:ext cx="5045037" cy="579511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sp>
        <p:nvSpPr>
          <p:cNvPr id="33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5773083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 dirty="0"/>
              <a:t>Förnamn Efternamn</a:t>
            </a:r>
          </a:p>
        </p:txBody>
      </p:sp>
      <p:sp>
        <p:nvSpPr>
          <p:cNvPr id="35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5966077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 dirty="0"/>
              <a:t>Titel</a:t>
            </a:r>
          </a:p>
        </p:txBody>
      </p:sp>
      <p:sp>
        <p:nvSpPr>
          <p:cNvPr id="38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6156669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 dirty="0"/>
              <a:t>Koncer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grpSp>
        <p:nvGrpSpPr>
          <p:cNvPr id="5" name="Grupp 4"/>
          <p:cNvGrpSpPr/>
          <p:nvPr userDrawn="1"/>
        </p:nvGrpSpPr>
        <p:grpSpPr bwMode="ltGray">
          <a:xfrm>
            <a:off x="6158739" y="1333078"/>
            <a:ext cx="5411661" cy="4991579"/>
            <a:chOff x="6158738" y="1334609"/>
            <a:chExt cx="5411661" cy="4991579"/>
          </a:xfrm>
        </p:grpSpPr>
        <p:pic>
          <p:nvPicPr>
            <p:cNvPr id="17" name="Bildobjekt 1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158738" y="1334609"/>
              <a:ext cx="1548780" cy="1547656"/>
            </a:xfrm>
            <a:prstGeom prst="rect">
              <a:avLst/>
            </a:prstGeom>
          </p:spPr>
        </p:pic>
        <p:pic>
          <p:nvPicPr>
            <p:cNvPr id="19" name="Bildobjekt 1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8667750" y="1347945"/>
              <a:ext cx="2902649" cy="1978708"/>
            </a:xfrm>
            <a:prstGeom prst="rect">
              <a:avLst/>
            </a:prstGeom>
          </p:spPr>
        </p:pic>
        <p:pic>
          <p:nvPicPr>
            <p:cNvPr id="21" name="Bildobjekt 20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380711" y="3500120"/>
              <a:ext cx="1222143" cy="2826068"/>
            </a:xfrm>
            <a:prstGeom prst="rect">
              <a:avLst/>
            </a:prstGeom>
          </p:spPr>
        </p:pic>
        <p:pic>
          <p:nvPicPr>
            <p:cNvPr id="23" name="Bildobjekt 22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0370121" y="3650615"/>
              <a:ext cx="1200278" cy="2675573"/>
            </a:xfrm>
            <a:prstGeom prst="rect">
              <a:avLst/>
            </a:prstGeom>
          </p:spPr>
        </p:pic>
        <p:pic>
          <p:nvPicPr>
            <p:cNvPr id="25" name="Bildobjekt 24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8075204" y="3710735"/>
              <a:ext cx="1941492" cy="2615453"/>
            </a:xfrm>
            <a:prstGeom prst="rect">
              <a:avLst/>
            </a:prstGeom>
          </p:spPr>
        </p:pic>
      </p:grpSp>
      <p:sp>
        <p:nvSpPr>
          <p:cNvPr id="16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pPr lvl="0"/>
            <a:r>
              <a:rPr lang="sv-SE"/>
              <a:t>2018-XX-XX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79007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4"/>
          <p:cNvSpPr>
            <a:spLocks noGrp="1"/>
          </p:cNvSpPr>
          <p:nvPr>
            <p:ph type="pic" sz="quarter" idx="18" hasCustomPrompt="1"/>
          </p:nvPr>
        </p:nvSpPr>
        <p:spPr>
          <a:xfrm>
            <a:off x="636588" y="1376363"/>
            <a:ext cx="6498763" cy="4931296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dirty="0"/>
              <a:t> 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11" name="Platshållare för bild 10"/>
          <p:cNvSpPr>
            <a:spLocks noGrp="1"/>
          </p:cNvSpPr>
          <p:nvPr>
            <p:ph type="pic" sz="quarter" idx="16" hasCustomPrompt="1"/>
          </p:nvPr>
        </p:nvSpPr>
        <p:spPr>
          <a:xfrm>
            <a:off x="7279351" y="1376362"/>
            <a:ext cx="4284000" cy="23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7" hasCustomPrompt="1"/>
          </p:nvPr>
        </p:nvSpPr>
        <p:spPr>
          <a:xfrm>
            <a:off x="7279351" y="3914389"/>
            <a:ext cx="4284000" cy="23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763307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68"/>
            <a:ext cx="5458739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C8E05B6-C766-40F7-B9E4-3355A061FA4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6589" y="2122488"/>
            <a:ext cx="5459411" cy="41862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 Text</a:t>
            </a:r>
          </a:p>
        </p:txBody>
      </p:sp>
      <p:sp>
        <p:nvSpPr>
          <p:cNvPr id="5" name="Platshållare för bild 4"/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616701" y="1386669"/>
            <a:ext cx="2394000" cy="2394000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8" name="Platshållare för bild 4"/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9168135" y="1386669"/>
            <a:ext cx="2394000" cy="2394000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9" name="Platshållare för bild 4"/>
          <p:cNvSpPr>
            <a:spLocks noGrp="1"/>
          </p:cNvSpPr>
          <p:nvPr>
            <p:ph type="pic" sz="quarter" idx="16" hasCustomPrompt="1"/>
          </p:nvPr>
        </p:nvSpPr>
        <p:spPr bwMode="ltGray">
          <a:xfrm>
            <a:off x="6616701" y="3912823"/>
            <a:ext cx="2394000" cy="2394000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11" name="Platshållare för bild 4"/>
          <p:cNvSpPr>
            <a:spLocks noGrp="1"/>
          </p:cNvSpPr>
          <p:nvPr>
            <p:ph type="pic" sz="quarter" idx="17" hasCustomPrompt="1"/>
          </p:nvPr>
        </p:nvSpPr>
        <p:spPr bwMode="ltGray">
          <a:xfrm>
            <a:off x="9168135" y="3912823"/>
            <a:ext cx="2394000" cy="2394000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028327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och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10"/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636591" y="137636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17" name="Platshållare för text 16"/>
          <p:cNvSpPr>
            <a:spLocks noGrp="1"/>
          </p:cNvSpPr>
          <p:nvPr>
            <p:ph type="body" sz="quarter" idx="22" hasCustomPrompt="1"/>
          </p:nvPr>
        </p:nvSpPr>
        <p:spPr>
          <a:xfrm>
            <a:off x="636591" y="3572692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 dirty="0"/>
              <a:t>Bildtext</a:t>
            </a:r>
          </a:p>
        </p:txBody>
      </p:sp>
      <p:sp>
        <p:nvSpPr>
          <p:cNvPr id="6" name="Platshållare för bild 10"/>
          <p:cNvSpPr>
            <a:spLocks noGrp="1"/>
          </p:cNvSpPr>
          <p:nvPr>
            <p:ph type="pic" sz="quarter" idx="18" hasCustomPrompt="1"/>
          </p:nvPr>
        </p:nvSpPr>
        <p:spPr bwMode="ltGray">
          <a:xfrm>
            <a:off x="4330224" y="137636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21" name="Platshållare för text 16"/>
          <p:cNvSpPr>
            <a:spLocks noGrp="1"/>
          </p:cNvSpPr>
          <p:nvPr>
            <p:ph type="body" sz="quarter" idx="23" hasCustomPrompt="1"/>
          </p:nvPr>
        </p:nvSpPr>
        <p:spPr>
          <a:xfrm>
            <a:off x="4330224" y="3572692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 dirty="0"/>
              <a:t>Bildtext</a:t>
            </a:r>
          </a:p>
        </p:txBody>
      </p:sp>
      <p:sp>
        <p:nvSpPr>
          <p:cNvPr id="11" name="Platshållare för bild 10"/>
          <p:cNvSpPr>
            <a:spLocks noGrp="1"/>
          </p:cNvSpPr>
          <p:nvPr>
            <p:ph type="pic" sz="quarter" idx="16" hasCustomPrompt="1"/>
          </p:nvPr>
        </p:nvSpPr>
        <p:spPr bwMode="ltGray">
          <a:xfrm>
            <a:off x="8030211" y="137636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23" name="Platshållare för text 16"/>
          <p:cNvSpPr>
            <a:spLocks noGrp="1"/>
          </p:cNvSpPr>
          <p:nvPr>
            <p:ph type="body" sz="quarter" idx="24" hasCustomPrompt="1"/>
          </p:nvPr>
        </p:nvSpPr>
        <p:spPr>
          <a:xfrm>
            <a:off x="8030211" y="3572692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 dirty="0"/>
              <a:t>Bildtext</a:t>
            </a:r>
          </a:p>
        </p:txBody>
      </p:sp>
      <p:sp>
        <p:nvSpPr>
          <p:cNvPr id="12" name="Platshållare för bild 8"/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636591" y="391804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24" name="Platshållare för text 16"/>
          <p:cNvSpPr>
            <a:spLocks noGrp="1"/>
          </p:cNvSpPr>
          <p:nvPr>
            <p:ph type="body" sz="quarter" idx="25" hasCustomPrompt="1"/>
          </p:nvPr>
        </p:nvSpPr>
        <p:spPr>
          <a:xfrm>
            <a:off x="636591" y="6101255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/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 dirty="0"/>
              <a:t>Bildtext</a:t>
            </a:r>
          </a:p>
        </p:txBody>
      </p:sp>
      <p:sp>
        <p:nvSpPr>
          <p:cNvPr id="7" name="Platshållare för bild 8"/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4330224" y="391804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25" name="Platshållare för text 16"/>
          <p:cNvSpPr>
            <a:spLocks noGrp="1"/>
          </p:cNvSpPr>
          <p:nvPr>
            <p:ph type="body" sz="quarter" idx="26" hasCustomPrompt="1"/>
          </p:nvPr>
        </p:nvSpPr>
        <p:spPr>
          <a:xfrm>
            <a:off x="4330224" y="6101255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/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 dirty="0"/>
              <a:t>Bildtex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7" hasCustomPrompt="1"/>
          </p:nvPr>
        </p:nvSpPr>
        <p:spPr bwMode="ltGray">
          <a:xfrm>
            <a:off x="8030211" y="391804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26" name="Platshållare för text 16"/>
          <p:cNvSpPr>
            <a:spLocks noGrp="1"/>
          </p:cNvSpPr>
          <p:nvPr>
            <p:ph type="body" sz="quarter" idx="27" hasCustomPrompt="1"/>
          </p:nvPr>
        </p:nvSpPr>
        <p:spPr>
          <a:xfrm>
            <a:off x="8030211" y="6101255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/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 dirty="0"/>
              <a:t>Bildtext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338295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5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3"/>
            <a:ext cx="8467655" cy="1395727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pic>
        <p:nvPicPr>
          <p:cNvPr id="6" name="Bildobjekt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" r="1149" b="60809"/>
          <a:stretch/>
        </p:blipFill>
        <p:spPr bwMode="ltGray">
          <a:xfrm>
            <a:off x="583097" y="3263784"/>
            <a:ext cx="11027060" cy="310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2171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, rubrik och avsändare">
    <p:bg>
      <p:bgPr>
        <a:solidFill>
          <a:srgbClr val="DDF0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" r="1149" b="60809"/>
          <a:stretch/>
        </p:blipFill>
        <p:spPr bwMode="ltGray">
          <a:xfrm>
            <a:off x="583097" y="3263784"/>
            <a:ext cx="11027060" cy="3100343"/>
          </a:xfrm>
          <a:prstGeom prst="rect">
            <a:avLst/>
          </a:prstGeom>
        </p:spPr>
      </p:pic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1"/>
            <a:ext cx="8467655" cy="1395728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  <a:br>
              <a:rPr lang="sv-SE" dirty="0"/>
            </a:br>
            <a:br>
              <a:rPr lang="sv-SE" dirty="0"/>
            </a:br>
            <a:endParaRPr lang="sv-SE" dirty="0"/>
          </a:p>
        </p:txBody>
      </p:sp>
      <p:sp>
        <p:nvSpPr>
          <p:cNvPr id="7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3039910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 dirty="0"/>
              <a:t>Förnamn Efternamn</a:t>
            </a:r>
          </a:p>
        </p:txBody>
      </p:sp>
      <p:sp>
        <p:nvSpPr>
          <p:cNvPr id="8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323290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sv-SE" dirty="0"/>
              <a:t>Titel</a:t>
            </a:r>
          </a:p>
        </p:txBody>
      </p:sp>
      <p:sp>
        <p:nvSpPr>
          <p:cNvPr id="9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342349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sv-SE" dirty="0"/>
              <a:t>Koncern</a:t>
            </a:r>
          </a:p>
        </p:txBody>
      </p:sp>
      <p:sp>
        <p:nvSpPr>
          <p:cNvPr id="11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pPr lvl="0"/>
            <a:r>
              <a:rPr lang="sv-SE"/>
              <a:t>2018-XX-XX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41274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7" t="1568" r="763" b="23034"/>
          <a:stretch/>
        </p:blipFill>
        <p:spPr bwMode="ltGray">
          <a:xfrm>
            <a:off x="168390" y="244801"/>
            <a:ext cx="11866175" cy="637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676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74274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+ platshåll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3360" indent="-213360">
              <a:buFont typeface="Arial" panose="020B0604020202020204" pitchFamily="34" charset="0"/>
              <a:buChar char="•"/>
              <a:tabLst/>
              <a:defRPr/>
            </a:lvl1pPr>
            <a:lvl2pPr marL="428626" indent="-211456">
              <a:buFont typeface="Arial" panose="020B0604020202020204" pitchFamily="34" charset="0"/>
              <a:buChar char="•"/>
              <a:defRPr/>
            </a:lvl2pPr>
            <a:lvl3pPr marL="636270" indent="-205740">
              <a:buFont typeface="Arial" panose="020B0604020202020204" pitchFamily="34" charset="0"/>
              <a:buChar char="•"/>
              <a:defRPr/>
            </a:lvl3pPr>
            <a:lvl4pPr marL="855346" indent="-205740">
              <a:buFont typeface="Arial" panose="020B0604020202020204" pitchFamily="34" charset="0"/>
              <a:buChar char="•"/>
              <a:defRPr/>
            </a:lvl4pPr>
            <a:lvl5pPr marL="1064894" indent="-20574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D0347-586D-4658-B04E-1AB0D657410F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930999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ld med logo (start och slu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000" y="2513582"/>
            <a:ext cx="6120000" cy="1830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112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2"/>
            <a:ext cx="5077929" cy="1300543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42976" y="2663071"/>
            <a:ext cx="5045037" cy="579511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</a:t>
            </a:r>
          </a:p>
        </p:txBody>
      </p:sp>
      <p:sp>
        <p:nvSpPr>
          <p:cNvPr id="33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5773083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/>
              <a:t>Förnamn Efternamn</a:t>
            </a:r>
          </a:p>
        </p:txBody>
      </p:sp>
      <p:sp>
        <p:nvSpPr>
          <p:cNvPr id="35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5966077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Titel</a:t>
            </a:r>
          </a:p>
        </p:txBody>
      </p:sp>
      <p:sp>
        <p:nvSpPr>
          <p:cNvPr id="38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6156669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oncer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grpSp>
        <p:nvGrpSpPr>
          <p:cNvPr id="5" name="Grupp 4"/>
          <p:cNvGrpSpPr/>
          <p:nvPr userDrawn="1"/>
        </p:nvGrpSpPr>
        <p:grpSpPr bwMode="ltGray">
          <a:xfrm>
            <a:off x="6158739" y="1333078"/>
            <a:ext cx="5411661" cy="4991579"/>
            <a:chOff x="6158738" y="1334609"/>
            <a:chExt cx="5411661" cy="4991579"/>
          </a:xfrm>
        </p:grpSpPr>
        <p:pic>
          <p:nvPicPr>
            <p:cNvPr id="17" name="Bildobjekt 1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158738" y="1334609"/>
              <a:ext cx="1548780" cy="1547656"/>
            </a:xfrm>
            <a:prstGeom prst="rect">
              <a:avLst/>
            </a:prstGeom>
          </p:spPr>
        </p:pic>
        <p:pic>
          <p:nvPicPr>
            <p:cNvPr id="19" name="Bildobjekt 1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8667750" y="1347945"/>
              <a:ext cx="2902649" cy="1978708"/>
            </a:xfrm>
            <a:prstGeom prst="rect">
              <a:avLst/>
            </a:prstGeom>
          </p:spPr>
        </p:pic>
        <p:pic>
          <p:nvPicPr>
            <p:cNvPr id="21" name="Bildobjekt 20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380711" y="3500120"/>
              <a:ext cx="1222143" cy="2826068"/>
            </a:xfrm>
            <a:prstGeom prst="rect">
              <a:avLst/>
            </a:prstGeom>
          </p:spPr>
        </p:pic>
        <p:pic>
          <p:nvPicPr>
            <p:cNvPr id="23" name="Bildobjekt 22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0370121" y="3650615"/>
              <a:ext cx="1200278" cy="2675573"/>
            </a:xfrm>
            <a:prstGeom prst="rect">
              <a:avLst/>
            </a:prstGeom>
          </p:spPr>
        </p:pic>
        <p:pic>
          <p:nvPicPr>
            <p:cNvPr id="25" name="Bildobjekt 24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8075204" y="3710735"/>
              <a:ext cx="1941492" cy="2615453"/>
            </a:xfrm>
            <a:prstGeom prst="rect">
              <a:avLst/>
            </a:prstGeom>
          </p:spPr>
        </p:pic>
      </p:grpSp>
      <p:sp>
        <p:nvSpPr>
          <p:cNvPr id="16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pPr lvl="0"/>
            <a:r>
              <a:rPr lang="sv-SE"/>
              <a:t>2018-XX-XX</a:t>
            </a:r>
          </a:p>
        </p:txBody>
      </p:sp>
    </p:spTree>
    <p:extLst>
      <p:ext uri="{BB962C8B-B14F-4D97-AF65-F5344CB8AC3E}">
        <p14:creationId xmlns:p14="http://schemas.microsoft.com/office/powerpoint/2010/main" val="2290458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2"/>
            <a:ext cx="5077929" cy="1300543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42976" y="2663071"/>
            <a:ext cx="5045037" cy="579511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sp>
        <p:nvSpPr>
          <p:cNvPr id="19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5763558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 dirty="0"/>
              <a:t>Förnamn Efternamn</a:t>
            </a:r>
          </a:p>
        </p:txBody>
      </p:sp>
      <p:sp>
        <p:nvSpPr>
          <p:cNvPr id="20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5956552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 dirty="0"/>
              <a:t>Titel</a:t>
            </a:r>
          </a:p>
        </p:txBody>
      </p:sp>
      <p:sp>
        <p:nvSpPr>
          <p:cNvPr id="21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614714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 dirty="0"/>
              <a:t>Koncer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grpSp>
        <p:nvGrpSpPr>
          <p:cNvPr id="28" name="Grupp 27"/>
          <p:cNvGrpSpPr/>
          <p:nvPr userDrawn="1"/>
        </p:nvGrpSpPr>
        <p:grpSpPr bwMode="ltGray">
          <a:xfrm>
            <a:off x="6152712" y="1244179"/>
            <a:ext cx="5283453" cy="5075155"/>
            <a:chOff x="6152712" y="1165432"/>
            <a:chExt cx="5283453" cy="5075155"/>
          </a:xfrm>
        </p:grpSpPr>
        <p:pic>
          <p:nvPicPr>
            <p:cNvPr id="9" name="Bildobjekt 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7425691" y="1663314"/>
              <a:ext cx="4010474" cy="1092096"/>
            </a:xfrm>
            <a:prstGeom prst="rect">
              <a:avLst/>
            </a:prstGeom>
          </p:spPr>
        </p:pic>
        <p:pic>
          <p:nvPicPr>
            <p:cNvPr id="11" name="Bildobjekt 1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9606010" y="2828329"/>
              <a:ext cx="1827774" cy="2021801"/>
            </a:xfrm>
            <a:prstGeom prst="rect">
              <a:avLst/>
            </a:prstGeom>
          </p:spPr>
        </p:pic>
        <p:pic>
          <p:nvPicPr>
            <p:cNvPr id="15" name="Bildobjekt 14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217920" y="5200848"/>
              <a:ext cx="1615702" cy="1027902"/>
            </a:xfrm>
            <a:prstGeom prst="rect">
              <a:avLst/>
            </a:prstGeom>
          </p:spPr>
        </p:pic>
        <p:pic>
          <p:nvPicPr>
            <p:cNvPr id="18" name="Bildobjekt 17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158738" y="2843570"/>
              <a:ext cx="1866250" cy="2007066"/>
            </a:xfrm>
            <a:prstGeom prst="rect">
              <a:avLst/>
            </a:prstGeom>
          </p:spPr>
        </p:pic>
        <p:pic>
          <p:nvPicPr>
            <p:cNvPr id="22" name="Bildobjekt 21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8111490" y="4739808"/>
              <a:ext cx="3116580" cy="1500779"/>
            </a:xfrm>
            <a:prstGeom prst="rect">
              <a:avLst/>
            </a:prstGeom>
          </p:spPr>
        </p:pic>
        <p:pic>
          <p:nvPicPr>
            <p:cNvPr id="27" name="Bildobjekt 26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152712" y="1165432"/>
              <a:ext cx="1697793" cy="857677"/>
            </a:xfrm>
            <a:prstGeom prst="rect">
              <a:avLst/>
            </a:prstGeom>
          </p:spPr>
        </p:pic>
      </p:grpSp>
      <p:sp>
        <p:nvSpPr>
          <p:cNvPr id="23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2018-XX-XX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00727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2"/>
            <a:ext cx="5077929" cy="1300543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42976" y="2663071"/>
            <a:ext cx="5045037" cy="579511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</a:t>
            </a:r>
          </a:p>
        </p:txBody>
      </p:sp>
      <p:sp>
        <p:nvSpPr>
          <p:cNvPr id="19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5763558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/>
              <a:t>Förnamn Efternamn</a:t>
            </a:r>
          </a:p>
        </p:txBody>
      </p:sp>
      <p:sp>
        <p:nvSpPr>
          <p:cNvPr id="20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5956552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Titel</a:t>
            </a:r>
          </a:p>
        </p:txBody>
      </p:sp>
      <p:sp>
        <p:nvSpPr>
          <p:cNvPr id="21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614714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oncer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grpSp>
        <p:nvGrpSpPr>
          <p:cNvPr id="28" name="Grupp 27"/>
          <p:cNvGrpSpPr/>
          <p:nvPr userDrawn="1"/>
        </p:nvGrpSpPr>
        <p:grpSpPr bwMode="ltGray">
          <a:xfrm>
            <a:off x="6152712" y="1244179"/>
            <a:ext cx="5283453" cy="5075155"/>
            <a:chOff x="6152712" y="1165432"/>
            <a:chExt cx="5283453" cy="5075155"/>
          </a:xfrm>
        </p:grpSpPr>
        <p:pic>
          <p:nvPicPr>
            <p:cNvPr id="9" name="Bildobjekt 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7425691" y="1663314"/>
              <a:ext cx="4010474" cy="1092096"/>
            </a:xfrm>
            <a:prstGeom prst="rect">
              <a:avLst/>
            </a:prstGeom>
          </p:spPr>
        </p:pic>
        <p:pic>
          <p:nvPicPr>
            <p:cNvPr id="11" name="Bildobjekt 1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9606010" y="2828329"/>
              <a:ext cx="1827774" cy="2021801"/>
            </a:xfrm>
            <a:prstGeom prst="rect">
              <a:avLst/>
            </a:prstGeom>
          </p:spPr>
        </p:pic>
        <p:pic>
          <p:nvPicPr>
            <p:cNvPr id="15" name="Bildobjekt 14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217920" y="5200848"/>
              <a:ext cx="1615702" cy="1027902"/>
            </a:xfrm>
            <a:prstGeom prst="rect">
              <a:avLst/>
            </a:prstGeom>
          </p:spPr>
        </p:pic>
        <p:pic>
          <p:nvPicPr>
            <p:cNvPr id="18" name="Bildobjekt 17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158738" y="2843570"/>
              <a:ext cx="1866250" cy="2007066"/>
            </a:xfrm>
            <a:prstGeom prst="rect">
              <a:avLst/>
            </a:prstGeom>
          </p:spPr>
        </p:pic>
        <p:pic>
          <p:nvPicPr>
            <p:cNvPr id="22" name="Bildobjekt 21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8111490" y="4739808"/>
              <a:ext cx="3116580" cy="1500779"/>
            </a:xfrm>
            <a:prstGeom prst="rect">
              <a:avLst/>
            </a:prstGeom>
          </p:spPr>
        </p:pic>
        <p:pic>
          <p:nvPicPr>
            <p:cNvPr id="27" name="Bildobjekt 26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6152712" y="1165432"/>
              <a:ext cx="1697793" cy="857677"/>
            </a:xfrm>
            <a:prstGeom prst="rect">
              <a:avLst/>
            </a:prstGeom>
          </p:spPr>
        </p:pic>
      </p:grpSp>
      <p:sp>
        <p:nvSpPr>
          <p:cNvPr id="23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2018-XX-XX</a:t>
            </a:r>
          </a:p>
        </p:txBody>
      </p:sp>
    </p:spTree>
    <p:extLst>
      <p:ext uri="{BB962C8B-B14F-4D97-AF65-F5344CB8AC3E}">
        <p14:creationId xmlns:p14="http://schemas.microsoft.com/office/powerpoint/2010/main" val="1904181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2"/>
            <a:ext cx="5077929" cy="1300543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42976" y="2663071"/>
            <a:ext cx="5045037" cy="579511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</a:t>
            </a:r>
          </a:p>
        </p:txBody>
      </p:sp>
      <p:sp>
        <p:nvSpPr>
          <p:cNvPr id="12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5763558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/>
              <a:t>Förnamn Efternamn</a:t>
            </a:r>
          </a:p>
        </p:txBody>
      </p:sp>
      <p:sp>
        <p:nvSpPr>
          <p:cNvPr id="13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5956552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Titel</a:t>
            </a:r>
          </a:p>
        </p:txBody>
      </p:sp>
      <p:sp>
        <p:nvSpPr>
          <p:cNvPr id="14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614714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oncer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269785" y="1343033"/>
            <a:ext cx="5198428" cy="4977514"/>
          </a:xfrm>
          <a:prstGeom prst="rect">
            <a:avLst/>
          </a:prstGeom>
        </p:spPr>
      </p:pic>
      <p:sp>
        <p:nvSpPr>
          <p:cNvPr id="15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2018-XX-XX</a:t>
            </a:r>
          </a:p>
        </p:txBody>
      </p:sp>
    </p:spTree>
    <p:extLst>
      <p:ext uri="{BB962C8B-B14F-4D97-AF65-F5344CB8AC3E}">
        <p14:creationId xmlns:p14="http://schemas.microsoft.com/office/powerpoint/2010/main" val="72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2"/>
            <a:ext cx="5077929" cy="1300543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42976" y="2663071"/>
            <a:ext cx="5045037" cy="579511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</a:t>
            </a:r>
          </a:p>
        </p:txBody>
      </p:sp>
      <p:sp>
        <p:nvSpPr>
          <p:cNvPr id="11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3272149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/>
              <a:t>Förnamn Efternamn</a:t>
            </a:r>
          </a:p>
        </p:txBody>
      </p:sp>
      <p:sp>
        <p:nvSpPr>
          <p:cNvPr id="12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3465143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Titel</a:t>
            </a:r>
          </a:p>
        </p:txBody>
      </p:sp>
      <p:sp>
        <p:nvSpPr>
          <p:cNvPr id="13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365573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oncern</a:t>
            </a:r>
          </a:p>
        </p:txBody>
      </p:sp>
      <p:sp>
        <p:nvSpPr>
          <p:cNvPr id="14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2018-XX-XX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02936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1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Kapitelrubrik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564631" y="1244177"/>
            <a:ext cx="4480912" cy="4477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0817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2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Kapitelrubrik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66840" y="1244177"/>
            <a:ext cx="4729176" cy="476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128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3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522720" y="1244177"/>
            <a:ext cx="4505632" cy="4516342"/>
          </a:xfrm>
          <a:prstGeom prst="rect">
            <a:avLst/>
          </a:prstGeom>
        </p:spPr>
      </p:pic>
      <p:sp>
        <p:nvSpPr>
          <p:cNvPr id="6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Kapitelrubrik</a:t>
            </a:r>
          </a:p>
        </p:txBody>
      </p:sp>
    </p:spTree>
    <p:extLst>
      <p:ext uri="{BB962C8B-B14F-4D97-AF65-F5344CB8AC3E}">
        <p14:creationId xmlns:p14="http://schemas.microsoft.com/office/powerpoint/2010/main" val="18567576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4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972477" y="1244177"/>
            <a:ext cx="3606121" cy="4516342"/>
          </a:xfrm>
          <a:prstGeom prst="rect">
            <a:avLst/>
          </a:prstGeom>
        </p:spPr>
      </p:pic>
      <p:sp>
        <p:nvSpPr>
          <p:cNvPr id="6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Kapitelrubrik</a:t>
            </a:r>
          </a:p>
        </p:txBody>
      </p:sp>
    </p:spTree>
    <p:extLst>
      <p:ext uri="{BB962C8B-B14F-4D97-AF65-F5344CB8AC3E}">
        <p14:creationId xmlns:p14="http://schemas.microsoft.com/office/powerpoint/2010/main" val="11175916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5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546775" y="1244177"/>
            <a:ext cx="4457523" cy="4516342"/>
          </a:xfrm>
          <a:prstGeom prst="rect">
            <a:avLst/>
          </a:prstGeom>
        </p:spPr>
      </p:pic>
      <p:sp>
        <p:nvSpPr>
          <p:cNvPr id="6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Kapitelrubrik</a:t>
            </a:r>
          </a:p>
        </p:txBody>
      </p:sp>
    </p:spTree>
    <p:extLst>
      <p:ext uri="{BB962C8B-B14F-4D97-AF65-F5344CB8AC3E}">
        <p14:creationId xmlns:p14="http://schemas.microsoft.com/office/powerpoint/2010/main" val="36887683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68"/>
            <a:ext cx="8722800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6FBC7CC-2D48-41D3-8ACD-57F49752630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588" y="2122487"/>
            <a:ext cx="8721496" cy="41868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text i punkt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9" y="1386668"/>
            <a:ext cx="8722801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3" hasCustomPrompt="1"/>
          </p:nvPr>
        </p:nvSpPr>
        <p:spPr>
          <a:xfrm>
            <a:off x="636588" y="2122488"/>
            <a:ext cx="8721496" cy="4186800"/>
          </a:xfrm>
        </p:spPr>
        <p:txBody>
          <a:bodyPr/>
          <a:lstStyle>
            <a:lvl1pPr marL="178875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1pPr>
            <a:lvl2pPr marL="496375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2pPr>
            <a:lvl3pPr marL="726563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3pPr>
            <a:lvl4pPr marL="956750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4pPr>
            <a:lvl5pPr marL="1150425" indent="-178875">
              <a:tabLst/>
              <a:defRPr sz="20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sv-SE"/>
              <a:t>Text i punktform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656606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2"/>
            <a:ext cx="5077929" cy="1300543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42976" y="2663071"/>
            <a:ext cx="5045037" cy="579511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sp>
        <p:nvSpPr>
          <p:cNvPr id="12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5763558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 dirty="0"/>
              <a:t>Förnamn Efternamn</a:t>
            </a:r>
          </a:p>
        </p:txBody>
      </p:sp>
      <p:sp>
        <p:nvSpPr>
          <p:cNvPr id="13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5956552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 dirty="0"/>
              <a:t>Titel</a:t>
            </a:r>
          </a:p>
        </p:txBody>
      </p:sp>
      <p:sp>
        <p:nvSpPr>
          <p:cNvPr id="14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614714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 dirty="0"/>
              <a:t>Koncer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269785" y="1343033"/>
            <a:ext cx="5198428" cy="4977514"/>
          </a:xfrm>
          <a:prstGeom prst="rect">
            <a:avLst/>
          </a:prstGeom>
        </p:spPr>
      </p:pic>
      <p:sp>
        <p:nvSpPr>
          <p:cNvPr id="15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2018-XX-XX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43801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 2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90" y="1386668"/>
            <a:ext cx="8722801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00F336D-DBFE-4C9A-82AE-717B5B00D81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6589" y="2122490"/>
            <a:ext cx="5051423" cy="418623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/>
              <a:t>Text, Kolumn 1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3C4C8446-BE78-41AE-8D3B-33560118257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11927" y="2122488"/>
            <a:ext cx="5051423" cy="41862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/>
              <a:t>Text, Kolumn 2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364812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, innehåll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68"/>
            <a:ext cx="5050800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0447795-8C25-49D7-BD81-3D0B302BA7E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6590" y="2122488"/>
            <a:ext cx="5051423" cy="41862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5" name="Platshållare för bild 4"/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66485" y="1386669"/>
            <a:ext cx="5400000" cy="4922054"/>
          </a:xfrm>
        </p:spPr>
        <p:txBody>
          <a:bodyPr/>
          <a:lstStyle>
            <a:lvl1pPr marL="0" indent="0">
              <a:buFontTx/>
              <a:buNone/>
              <a:defRPr sz="10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993918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, innehåll och kar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68"/>
            <a:ext cx="5050800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0447795-8C25-49D7-BD81-3D0B302BA7E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6590" y="2122488"/>
            <a:ext cx="5051423" cy="41862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ECF0B69C-1928-4742-9EF5-20AB25DF1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7740" y="1013462"/>
            <a:ext cx="3338155" cy="5249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7730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lsidesbild med svart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154741" y="477766"/>
            <a:ext cx="3700460" cy="396421"/>
          </a:xfrm>
        </p:spPr>
        <p:txBody>
          <a:bodyPr anchor="t" anchorCtr="0"/>
          <a:lstStyle>
            <a:lvl1pPr>
              <a:defRPr sz="1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ruta 5"/>
          <p:cNvSpPr txBox="1"/>
          <p:nvPr userDrawn="1"/>
        </p:nvSpPr>
        <p:spPr>
          <a:xfrm>
            <a:off x="0" y="-363264"/>
            <a:ext cx="12192000" cy="24622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ör att byta</a:t>
            </a:r>
            <a:r>
              <a:rPr lang="sv-SE" sz="10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bakgrundsbild – </a:t>
            </a:r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Högerklicka på tomt utrymme</a:t>
            </a:r>
            <a:r>
              <a:rPr lang="sv-SE" sz="10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. Välj Formatera bakgrund/Fyllning/Bild eller strukturfyllning och välj sedan önskad bild.</a:t>
            </a:r>
            <a:endParaRPr lang="sv-SE" sz="10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00F83B-CF15-4618-B991-3799795FD8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4741" y="874185"/>
            <a:ext cx="3700460" cy="2205038"/>
          </a:xfrm>
        </p:spPr>
        <p:txBody>
          <a:bodyPr/>
          <a:lstStyle>
            <a:lvl1pPr marL="0" indent="0">
              <a:buFontTx/>
              <a:buNone/>
              <a:defRPr sz="1250"/>
            </a:lvl1pPr>
          </a:lstStyle>
          <a:p>
            <a:pPr lvl="0"/>
            <a:r>
              <a:rPr lang="sv-SE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5299908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lsidesbild med vit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 bwMode="black">
          <a:xfrm>
            <a:off x="6154741" y="477766"/>
            <a:ext cx="3700460" cy="396421"/>
          </a:xfrm>
        </p:spPr>
        <p:txBody>
          <a:bodyPr anchor="t" anchorCtr="0"/>
          <a:lstStyle>
            <a:lvl1pPr>
              <a:defRPr sz="1250">
                <a:solidFill>
                  <a:schemeClr val="bg1"/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645303-2AAE-45D1-913A-B06AE6474513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textruta 5"/>
          <p:cNvSpPr txBox="1"/>
          <p:nvPr userDrawn="1"/>
        </p:nvSpPr>
        <p:spPr>
          <a:xfrm>
            <a:off x="0" y="-363264"/>
            <a:ext cx="12192000" cy="24622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ör att byta bakgrundsbild</a:t>
            </a:r>
            <a:r>
              <a:rPr lang="sv-SE" sz="10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– </a:t>
            </a:r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Högerklicka på tomt utrymme</a:t>
            </a:r>
            <a:r>
              <a:rPr lang="sv-SE" sz="10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. Välj Formatera bakgrund/Fyllning/Bild eller strukturfyllning och välj sedan önskad bild.</a:t>
            </a:r>
            <a:endParaRPr lang="sv-SE" sz="10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17109" y="402030"/>
            <a:ext cx="1008339" cy="302744"/>
          </a:xfrm>
          <a:prstGeom prst="rect">
            <a:avLst/>
          </a:prstGeom>
        </p:spPr>
      </p:pic>
      <p:cxnSp>
        <p:nvCxnSpPr>
          <p:cNvPr id="11" name="Rak koppling 10"/>
          <p:cNvCxnSpPr/>
          <p:nvPr userDrawn="1"/>
        </p:nvCxnSpPr>
        <p:spPr bwMode="white">
          <a:xfrm>
            <a:off x="636588" y="333375"/>
            <a:ext cx="10926763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DAF3677-266B-49CD-9490-D0BD83AD2D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4741" y="874185"/>
            <a:ext cx="3700460" cy="2205038"/>
          </a:xfrm>
        </p:spPr>
        <p:txBody>
          <a:bodyPr/>
          <a:lstStyle>
            <a:lvl1pPr marL="0" indent="0">
              <a:buFontTx/>
              <a:buNone/>
              <a:defRPr sz="1250">
                <a:solidFill>
                  <a:schemeClr val="bg1"/>
                </a:solidFill>
              </a:defRPr>
            </a:lvl1pPr>
            <a:lvl2pPr>
              <a:defRPr sz="1250">
                <a:solidFill>
                  <a:schemeClr val="bg1"/>
                </a:solidFill>
              </a:defRPr>
            </a:lvl2pPr>
            <a:lvl3pPr>
              <a:defRPr sz="1250">
                <a:solidFill>
                  <a:schemeClr val="bg1"/>
                </a:solidFill>
              </a:defRPr>
            </a:lvl3pPr>
            <a:lvl4pPr>
              <a:defRPr sz="1250">
                <a:solidFill>
                  <a:schemeClr val="bg1"/>
                </a:solidFill>
              </a:defRPr>
            </a:lvl4pPr>
            <a:lvl5pPr>
              <a:defRPr sz="125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9101315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Platshållare för bild 4"/>
          <p:cNvSpPr>
            <a:spLocks noGrp="1"/>
          </p:cNvSpPr>
          <p:nvPr>
            <p:ph type="pic" sz="quarter" idx="18" hasCustomPrompt="1"/>
          </p:nvPr>
        </p:nvSpPr>
        <p:spPr>
          <a:xfrm>
            <a:off x="636588" y="1376363"/>
            <a:ext cx="10933811" cy="4931296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dirty="0"/>
              <a:t> 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748990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ilder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71"/>
            <a:ext cx="2066752" cy="351849"/>
          </a:xfrm>
        </p:spPr>
        <p:txBody>
          <a:bodyPr anchor="t" anchorCtr="0"/>
          <a:lstStyle>
            <a:lvl1pPr>
              <a:defRPr sz="1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09D2D10-4E2C-4B6E-AB5E-3A53EF579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588" y="1805940"/>
            <a:ext cx="2066752" cy="4501718"/>
          </a:xfrm>
        </p:spPr>
        <p:txBody>
          <a:bodyPr/>
          <a:lstStyle>
            <a:lvl1pPr marL="0" indent="0">
              <a:spcBef>
                <a:spcPts val="800"/>
              </a:spcBef>
              <a:buFontTx/>
              <a:buNone/>
              <a:defRPr sz="1250"/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5" name="Platshållare för bild 4"/>
          <p:cNvSpPr>
            <a:spLocks noGrp="1"/>
          </p:cNvSpPr>
          <p:nvPr>
            <p:ph type="pic" sz="quarter" idx="15" hasCustomPrompt="1"/>
          </p:nvPr>
        </p:nvSpPr>
        <p:spPr>
          <a:xfrm>
            <a:off x="2847340" y="1376363"/>
            <a:ext cx="4290840" cy="4931296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dirty="0"/>
              <a:t> 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11" name="Platshållare för bild 10"/>
          <p:cNvSpPr>
            <a:spLocks noGrp="1"/>
          </p:cNvSpPr>
          <p:nvPr>
            <p:ph type="pic" sz="quarter" idx="16" hasCustomPrompt="1"/>
          </p:nvPr>
        </p:nvSpPr>
        <p:spPr>
          <a:xfrm>
            <a:off x="7282180" y="1376362"/>
            <a:ext cx="4284000" cy="4931296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348872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4"/>
          <p:cNvSpPr>
            <a:spLocks noGrp="1"/>
          </p:cNvSpPr>
          <p:nvPr>
            <p:ph type="pic" sz="quarter" idx="18" hasCustomPrompt="1"/>
          </p:nvPr>
        </p:nvSpPr>
        <p:spPr>
          <a:xfrm>
            <a:off x="636588" y="1376363"/>
            <a:ext cx="6498763" cy="4931296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dirty="0"/>
              <a:t> 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11" name="Platshållare för bild 10"/>
          <p:cNvSpPr>
            <a:spLocks noGrp="1"/>
          </p:cNvSpPr>
          <p:nvPr>
            <p:ph type="pic" sz="quarter" idx="16" hasCustomPrompt="1"/>
          </p:nvPr>
        </p:nvSpPr>
        <p:spPr>
          <a:xfrm>
            <a:off x="7279351" y="1376362"/>
            <a:ext cx="4284000" cy="23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7" hasCustomPrompt="1"/>
          </p:nvPr>
        </p:nvSpPr>
        <p:spPr>
          <a:xfrm>
            <a:off x="7279351" y="3914389"/>
            <a:ext cx="4284000" cy="239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923607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, innehåll och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36588" y="1386668"/>
            <a:ext cx="5458739" cy="601200"/>
          </a:xfrm>
        </p:spPr>
        <p:txBody>
          <a:bodyPr anchor="t" anchorCtr="0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C8E05B6-C766-40F7-B9E4-3355A061FA4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6589" y="2122488"/>
            <a:ext cx="5459411" cy="41862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/>
              <a:t> Text</a:t>
            </a:r>
          </a:p>
        </p:txBody>
      </p:sp>
      <p:sp>
        <p:nvSpPr>
          <p:cNvPr id="5" name="Platshållare för bild 4"/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616701" y="1386669"/>
            <a:ext cx="2394000" cy="2394000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8" name="Platshållare för bild 4"/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9168135" y="1386669"/>
            <a:ext cx="2394000" cy="2394000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9" name="Platshållare för bild 4"/>
          <p:cNvSpPr>
            <a:spLocks noGrp="1"/>
          </p:cNvSpPr>
          <p:nvPr>
            <p:ph type="pic" sz="quarter" idx="16" hasCustomPrompt="1"/>
          </p:nvPr>
        </p:nvSpPr>
        <p:spPr bwMode="ltGray">
          <a:xfrm>
            <a:off x="6616701" y="3912823"/>
            <a:ext cx="2394000" cy="2394000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11" name="Platshållare för bild 4"/>
          <p:cNvSpPr>
            <a:spLocks noGrp="1"/>
          </p:cNvSpPr>
          <p:nvPr>
            <p:ph type="pic" sz="quarter" idx="17" hasCustomPrompt="1"/>
          </p:nvPr>
        </p:nvSpPr>
        <p:spPr bwMode="ltGray">
          <a:xfrm>
            <a:off x="9168135" y="3912823"/>
            <a:ext cx="2394000" cy="2394000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0301284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ch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10"/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636591" y="137636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17" name="Platshållare för text 16"/>
          <p:cNvSpPr>
            <a:spLocks noGrp="1"/>
          </p:cNvSpPr>
          <p:nvPr>
            <p:ph type="body" sz="quarter" idx="22" hasCustomPrompt="1"/>
          </p:nvPr>
        </p:nvSpPr>
        <p:spPr>
          <a:xfrm>
            <a:off x="636591" y="3572692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/>
              <a:t>Bildtext</a:t>
            </a:r>
          </a:p>
        </p:txBody>
      </p:sp>
      <p:sp>
        <p:nvSpPr>
          <p:cNvPr id="6" name="Platshållare för bild 10"/>
          <p:cNvSpPr>
            <a:spLocks noGrp="1"/>
          </p:cNvSpPr>
          <p:nvPr>
            <p:ph type="pic" sz="quarter" idx="18" hasCustomPrompt="1"/>
          </p:nvPr>
        </p:nvSpPr>
        <p:spPr bwMode="ltGray">
          <a:xfrm>
            <a:off x="4330224" y="137636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21" name="Platshållare för text 16"/>
          <p:cNvSpPr>
            <a:spLocks noGrp="1"/>
          </p:cNvSpPr>
          <p:nvPr>
            <p:ph type="body" sz="quarter" idx="23" hasCustomPrompt="1"/>
          </p:nvPr>
        </p:nvSpPr>
        <p:spPr>
          <a:xfrm>
            <a:off x="4330224" y="3572692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/>
              <a:t>Bildtext</a:t>
            </a:r>
          </a:p>
        </p:txBody>
      </p:sp>
      <p:sp>
        <p:nvSpPr>
          <p:cNvPr id="11" name="Platshållare för bild 10"/>
          <p:cNvSpPr>
            <a:spLocks noGrp="1"/>
          </p:cNvSpPr>
          <p:nvPr>
            <p:ph type="pic" sz="quarter" idx="16" hasCustomPrompt="1"/>
          </p:nvPr>
        </p:nvSpPr>
        <p:spPr bwMode="ltGray">
          <a:xfrm>
            <a:off x="8030211" y="137636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</a:t>
            </a:r>
            <a:r>
              <a:rPr lang="sv-SE" dirty="0"/>
              <a:t>Klicka på ikonen </a:t>
            </a:r>
            <a:r>
              <a:rPr lang="sv-SE" sz="1000" dirty="0"/>
              <a:t>för att infoga bild</a:t>
            </a:r>
            <a:endParaRPr lang="sv-SE" dirty="0"/>
          </a:p>
        </p:txBody>
      </p:sp>
      <p:sp>
        <p:nvSpPr>
          <p:cNvPr id="23" name="Platshållare för text 16"/>
          <p:cNvSpPr>
            <a:spLocks noGrp="1"/>
          </p:cNvSpPr>
          <p:nvPr>
            <p:ph type="body" sz="quarter" idx="24" hasCustomPrompt="1"/>
          </p:nvPr>
        </p:nvSpPr>
        <p:spPr>
          <a:xfrm>
            <a:off x="8030211" y="3572692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/>
              <a:t>Bildtext</a:t>
            </a:r>
          </a:p>
        </p:txBody>
      </p:sp>
      <p:sp>
        <p:nvSpPr>
          <p:cNvPr id="12" name="Platshållare för bild 8"/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636591" y="391804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24" name="Platshållare för text 16"/>
          <p:cNvSpPr>
            <a:spLocks noGrp="1"/>
          </p:cNvSpPr>
          <p:nvPr>
            <p:ph type="body" sz="quarter" idx="25" hasCustomPrompt="1"/>
          </p:nvPr>
        </p:nvSpPr>
        <p:spPr>
          <a:xfrm>
            <a:off x="636591" y="6101255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/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/>
              <a:t>Bildtext</a:t>
            </a:r>
          </a:p>
        </p:txBody>
      </p:sp>
      <p:sp>
        <p:nvSpPr>
          <p:cNvPr id="7" name="Platshållare för bild 8"/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4330224" y="391804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25" name="Platshållare för text 16"/>
          <p:cNvSpPr>
            <a:spLocks noGrp="1"/>
          </p:cNvSpPr>
          <p:nvPr>
            <p:ph type="body" sz="quarter" idx="26" hasCustomPrompt="1"/>
          </p:nvPr>
        </p:nvSpPr>
        <p:spPr>
          <a:xfrm>
            <a:off x="4330224" y="6101255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/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/>
              <a:t>Bildtex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7" hasCustomPrompt="1"/>
          </p:nvPr>
        </p:nvSpPr>
        <p:spPr bwMode="ltGray">
          <a:xfrm>
            <a:off x="8030211" y="3918043"/>
            <a:ext cx="3538800" cy="21240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sv-SE" sz="1000" dirty="0"/>
              <a:t> Klicka på ikonen för att infoga bild</a:t>
            </a:r>
            <a:endParaRPr lang="sv-SE" dirty="0"/>
          </a:p>
        </p:txBody>
      </p:sp>
      <p:sp>
        <p:nvSpPr>
          <p:cNvPr id="26" name="Platshållare för text 16"/>
          <p:cNvSpPr>
            <a:spLocks noGrp="1"/>
          </p:cNvSpPr>
          <p:nvPr>
            <p:ph type="body" sz="quarter" idx="27" hasCustomPrompt="1"/>
          </p:nvPr>
        </p:nvSpPr>
        <p:spPr>
          <a:xfrm>
            <a:off x="8030211" y="6101255"/>
            <a:ext cx="3538800" cy="201454"/>
          </a:xfrm>
        </p:spPr>
        <p:txBody>
          <a:bodyPr/>
          <a:lstStyle>
            <a:lvl1pPr marL="0" indent="0">
              <a:buFontTx/>
              <a:buNone/>
              <a:defRPr sz="1200"/>
            </a:lvl1pPr>
            <a:lvl2pPr marL="316800" indent="0">
              <a:buFontTx/>
              <a:buNone/>
              <a:defRPr/>
            </a:lvl2pPr>
            <a:lvl3pPr marL="547200" indent="0">
              <a:buFontTx/>
              <a:buNone/>
              <a:defRPr/>
            </a:lvl3pPr>
            <a:lvl4pPr marL="777600" indent="0">
              <a:buFontTx/>
              <a:buNone/>
              <a:defRPr/>
            </a:lvl4pPr>
            <a:lvl5pPr marL="972000" indent="0">
              <a:buFontTx/>
              <a:buNone/>
              <a:defRPr/>
            </a:lvl5pPr>
          </a:lstStyle>
          <a:p>
            <a:pPr lvl="0"/>
            <a:r>
              <a:rPr lang="sv-SE"/>
              <a:t>Bildtext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674545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2"/>
            <a:ext cx="5077929" cy="1300543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42976" y="2663071"/>
            <a:ext cx="5045037" cy="579511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sp>
        <p:nvSpPr>
          <p:cNvPr id="11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3272149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 dirty="0"/>
              <a:t>Förnamn Efternamn</a:t>
            </a:r>
          </a:p>
        </p:txBody>
      </p:sp>
      <p:sp>
        <p:nvSpPr>
          <p:cNvPr id="12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3465143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 dirty="0"/>
              <a:t>Titel</a:t>
            </a:r>
          </a:p>
        </p:txBody>
      </p:sp>
      <p:sp>
        <p:nvSpPr>
          <p:cNvPr id="13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365573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 dirty="0"/>
              <a:t>Koncern</a:t>
            </a:r>
          </a:p>
        </p:txBody>
      </p:sp>
      <p:sp>
        <p:nvSpPr>
          <p:cNvPr id="14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2018-XX-XX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60510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vslutnings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5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3"/>
            <a:ext cx="8467655" cy="1395727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</a:p>
        </p:txBody>
      </p:sp>
      <p:pic>
        <p:nvPicPr>
          <p:cNvPr id="6" name="Bildobjekt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" r="1149" b="60809"/>
          <a:stretch/>
        </p:blipFill>
        <p:spPr bwMode="ltGray">
          <a:xfrm>
            <a:off x="583097" y="3263784"/>
            <a:ext cx="11027060" cy="310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455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vslutningssida, rubrik och avsändare">
    <p:bg>
      <p:bgPr>
        <a:solidFill>
          <a:srgbClr val="DDF0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" r="1149" b="60809"/>
          <a:stretch/>
        </p:blipFill>
        <p:spPr bwMode="ltGray">
          <a:xfrm>
            <a:off x="583097" y="3263784"/>
            <a:ext cx="11027060" cy="3100343"/>
          </a:xfrm>
          <a:prstGeom prst="rect">
            <a:avLst/>
          </a:prstGeom>
        </p:spPr>
      </p:pic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Rubrik 1"/>
          <p:cNvSpPr>
            <a:spLocks noGrp="1"/>
          </p:cNvSpPr>
          <p:nvPr>
            <p:ph type="ctrTitle" hasCustomPrompt="1"/>
          </p:nvPr>
        </p:nvSpPr>
        <p:spPr>
          <a:xfrm>
            <a:off x="610086" y="1297231"/>
            <a:ext cx="8467655" cy="1395728"/>
          </a:xfrm>
        </p:spPr>
        <p:txBody>
          <a:bodyPr wrap="square" anchor="t" anchorCtr="0"/>
          <a:lstStyle>
            <a:lvl1pPr algn="l"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Rubrik</a:t>
            </a:r>
            <a:br>
              <a:rPr lang="sv-SE"/>
            </a:br>
            <a:br>
              <a:rPr lang="sv-SE"/>
            </a:br>
            <a:endParaRPr lang="sv-SE"/>
          </a:p>
        </p:txBody>
      </p:sp>
      <p:sp>
        <p:nvSpPr>
          <p:cNvPr id="7" name="Platshållare för text 32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3039910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v-SE"/>
              <a:t>Förnamn Efternamn</a:t>
            </a:r>
          </a:p>
        </p:txBody>
      </p:sp>
      <p:sp>
        <p:nvSpPr>
          <p:cNvPr id="8" name="Platshållare för text 34"/>
          <p:cNvSpPr>
            <a:spLocks noGrp="1"/>
          </p:cNvSpPr>
          <p:nvPr>
            <p:ph type="body" sz="quarter" idx="15" hasCustomPrompt="1"/>
          </p:nvPr>
        </p:nvSpPr>
        <p:spPr>
          <a:xfrm>
            <a:off x="636589" y="323290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sv-SE"/>
              <a:t>Titel</a:t>
            </a:r>
          </a:p>
        </p:txBody>
      </p:sp>
      <p:sp>
        <p:nvSpPr>
          <p:cNvPr id="9" name="Platshållare för text 37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9" y="3423494"/>
            <a:ext cx="3949812" cy="184666"/>
          </a:xfrm>
        </p:spPr>
        <p:txBody>
          <a:bodyPr anchor="ctr">
            <a:spAutoFit/>
          </a:bodyPr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sv-SE"/>
              <a:t>Koncern</a:t>
            </a:r>
          </a:p>
        </p:txBody>
      </p:sp>
      <p:sp>
        <p:nvSpPr>
          <p:cNvPr id="11" name="Platshållare för text 30"/>
          <p:cNvSpPr>
            <a:spLocks noGrp="1"/>
          </p:cNvSpPr>
          <p:nvPr>
            <p:ph type="body" sz="quarter" idx="17" hasCustomPrompt="1"/>
          </p:nvPr>
        </p:nvSpPr>
        <p:spPr>
          <a:xfrm>
            <a:off x="1740282" y="403160"/>
            <a:ext cx="960389" cy="1384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900"/>
            </a:lvl1pPr>
          </a:lstStyle>
          <a:p>
            <a:pPr lvl="0"/>
            <a:r>
              <a:rPr lang="sv-SE"/>
              <a:t>2018-XX-XX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7" t="1568" r="763" b="23034"/>
          <a:stretch/>
        </p:blipFill>
        <p:spPr bwMode="ltGray">
          <a:xfrm>
            <a:off x="168390" y="244801"/>
            <a:ext cx="11866175" cy="637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367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23007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1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Kapitelrubrik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564631" y="1244177"/>
            <a:ext cx="4480912" cy="4477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063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2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Kapitelrubrik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66840" y="1244177"/>
            <a:ext cx="4729176" cy="476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95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3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522720" y="1244177"/>
            <a:ext cx="4505632" cy="4516342"/>
          </a:xfrm>
          <a:prstGeom prst="rect">
            <a:avLst/>
          </a:prstGeom>
        </p:spPr>
      </p:pic>
      <p:sp>
        <p:nvSpPr>
          <p:cNvPr id="6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 dirty="0"/>
              <a:t>Kapitelrubrik</a:t>
            </a:r>
          </a:p>
        </p:txBody>
      </p:sp>
    </p:spTree>
    <p:extLst>
      <p:ext uri="{BB962C8B-B14F-4D97-AF65-F5344CB8AC3E}">
        <p14:creationId xmlns:p14="http://schemas.microsoft.com/office/powerpoint/2010/main" val="3275136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4">
    <p:bg>
      <p:bgPr>
        <a:solidFill>
          <a:srgbClr val="D0E6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972477" y="1244177"/>
            <a:ext cx="3606121" cy="4516342"/>
          </a:xfrm>
          <a:prstGeom prst="rect">
            <a:avLst/>
          </a:prstGeom>
        </p:spPr>
      </p:pic>
      <p:sp>
        <p:nvSpPr>
          <p:cNvPr id="6" name="Rubrik 6"/>
          <p:cNvSpPr>
            <a:spLocks noGrp="1"/>
          </p:cNvSpPr>
          <p:nvPr>
            <p:ph type="title" hasCustomPrompt="1"/>
          </p:nvPr>
        </p:nvSpPr>
        <p:spPr>
          <a:xfrm>
            <a:off x="610085" y="1297231"/>
            <a:ext cx="5077929" cy="1932316"/>
          </a:xfrm>
        </p:spPr>
        <p:txBody>
          <a:bodyPr anchor="t" anchorCtr="0"/>
          <a:lstStyle>
            <a:lvl1pPr>
              <a:lnSpc>
                <a:spcPts val="5000"/>
              </a:lnSpc>
              <a:defRPr sz="4500" b="0" spc="-1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sv-SE"/>
              <a:t>Kapitelrubrik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44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3.xml"/><Relationship Id="rId61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101901B-90C0-4EA4-AE4B-F47204BA24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58" imgW="622" imgH="623" progId="TCLayout.ActiveDocument.1">
                  <p:embed/>
                </p:oleObj>
              </mc:Choice>
              <mc:Fallback>
                <p:oleObj name="think-cell Slide" r:id="rId58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101901B-90C0-4EA4-AE4B-F47204BA24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51B7AA62-7D5B-49AD-929B-06D012AB94EF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36590" y="1386669"/>
            <a:ext cx="6538911" cy="602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36589" y="2130806"/>
            <a:ext cx="6538913" cy="41779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2413" y="333375"/>
            <a:ext cx="657987" cy="18764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E8645303-2AAE-45D1-913A-B06AE6474513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281" y="402032"/>
            <a:ext cx="1011996" cy="302745"/>
          </a:xfrm>
          <a:prstGeom prst="rect">
            <a:avLst/>
          </a:prstGeom>
        </p:spPr>
      </p:pic>
      <p:cxnSp>
        <p:nvCxnSpPr>
          <p:cNvPr id="14" name="Rak koppling 13"/>
          <p:cNvCxnSpPr/>
          <p:nvPr userDrawn="1"/>
        </p:nvCxnSpPr>
        <p:spPr>
          <a:xfrm>
            <a:off x="636588" y="333375"/>
            <a:ext cx="10926763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3620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649" r:id="rId28"/>
    <p:sldLayoutId id="2147483656" r:id="rId29"/>
    <p:sldLayoutId id="2147483657" r:id="rId30"/>
    <p:sldLayoutId id="2147483658" r:id="rId31"/>
    <p:sldLayoutId id="2147483674" r:id="rId32"/>
    <p:sldLayoutId id="2147483659" r:id="rId33"/>
    <p:sldLayoutId id="2147483660" r:id="rId34"/>
    <p:sldLayoutId id="2147483661" r:id="rId35"/>
    <p:sldLayoutId id="2147483675" r:id="rId36"/>
    <p:sldLayoutId id="2147483676" r:id="rId37"/>
    <p:sldLayoutId id="2147483680" r:id="rId38"/>
    <p:sldLayoutId id="2147483662" r:id="rId39"/>
    <p:sldLayoutId id="2147483664" r:id="rId40"/>
    <p:sldLayoutId id="2147483665" r:id="rId41"/>
    <p:sldLayoutId id="2147483683" r:id="rId42"/>
    <p:sldLayoutId id="2147483666" r:id="rId43"/>
    <p:sldLayoutId id="2147483667" r:id="rId44"/>
    <p:sldLayoutId id="2147483682" r:id="rId45"/>
    <p:sldLayoutId id="2147483668" r:id="rId46"/>
    <p:sldLayoutId id="2147483669" r:id="rId47"/>
    <p:sldLayoutId id="2147483679" r:id="rId48"/>
    <p:sldLayoutId id="2147483670" r:id="rId49"/>
    <p:sldLayoutId id="2147483672" r:id="rId50"/>
    <p:sldLayoutId id="2147483681" r:id="rId51"/>
    <p:sldLayoutId id="2147483673" r:id="rId52"/>
    <p:sldLayoutId id="2147483655" r:id="rId5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1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60800" indent="-1440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SzPct val="50000"/>
        <a:buFontTx/>
        <a:buBlip>
          <a:blip r:embed="rId61"/>
        </a:buBlip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691200" indent="-1440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SzPct val="75000"/>
        <a:buFont typeface="Wingdings" panose="05000000000000000000" pitchFamily="2" charset="2"/>
        <a:buChar char="§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21600" indent="-1440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116000" indent="-1440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SzPct val="50000"/>
        <a:buFontTx/>
        <a:buBlip>
          <a:blip r:embed="rId61"/>
        </a:buBlip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401" userDrawn="1">
          <p15:clr>
            <a:srgbClr val="F26B43"/>
          </p15:clr>
        </p15:guide>
        <p15:guide id="4" pos="7284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  <p15:guide id="8" orient="horz" pos="1337" userDrawn="1">
          <p15:clr>
            <a:srgbClr val="F26B43"/>
          </p15:clr>
        </p15:guide>
        <p15:guide id="9" orient="horz" pos="210" userDrawn="1">
          <p15:clr>
            <a:srgbClr val="F26B43"/>
          </p15:clr>
        </p15:guide>
        <p15:guide id="10" pos="3583" userDrawn="1">
          <p15:clr>
            <a:srgbClr val="F26B43"/>
          </p15:clr>
        </p15:guide>
        <p15:guide id="12" orient="horz" pos="86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12" Type="http://schemas.openxmlformats.org/officeDocument/2006/relationships/image" Target="../media/image4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44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4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51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asa.europa.eu/sites/default/files/dfu/EASA-ECDC_COVID-19_Operational%20guidelines%20for%20management%20of%20passengers_final.pdf" TargetMode="External"/><Relationship Id="rId3" Type="http://schemas.openxmlformats.org/officeDocument/2006/relationships/tags" Target="../tags/tag5.xml"/><Relationship Id="rId7" Type="http://schemas.openxmlformats.org/officeDocument/2006/relationships/image" Target="../media/image28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3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3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4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tshållare för bild 3">
            <a:extLst>
              <a:ext uri="{FF2B5EF4-FFF2-40B4-BE49-F238E27FC236}">
                <a16:creationId xmlns:a16="http://schemas.microsoft.com/office/drawing/2014/main" id="{13B0887B-40CF-4819-947B-B435B06315B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t="2997" b="2997"/>
          <a:stretch>
            <a:fillRect/>
          </a:stretch>
        </p:blipFill>
        <p:spPr>
          <a:xfrm>
            <a:off x="657378" y="1385741"/>
            <a:ext cx="10913020" cy="4921919"/>
          </a:xfrm>
          <a:prstGeom prst="rect">
            <a:avLst/>
          </a:prstGeom>
        </p:spPr>
      </p:pic>
      <p:sp>
        <p:nvSpPr>
          <p:cNvPr id="5" name="Rubrik 15">
            <a:extLst>
              <a:ext uri="{FF2B5EF4-FFF2-40B4-BE49-F238E27FC236}">
                <a16:creationId xmlns:a16="http://schemas.microsoft.com/office/drawing/2014/main" id="{D21940C2-5205-4767-A41C-71B709BC836F}"/>
              </a:ext>
            </a:extLst>
          </p:cNvPr>
          <p:cNvSpPr txBox="1">
            <a:spLocks/>
          </p:cNvSpPr>
          <p:nvPr/>
        </p:nvSpPr>
        <p:spPr>
          <a:xfrm>
            <a:off x="1562195" y="521019"/>
            <a:ext cx="9599141" cy="13005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000" dirty="0"/>
              <a:t>Action Plan COVID-19 Göteborg Landvetter Airport</a:t>
            </a:r>
          </a:p>
          <a:p>
            <a:endParaRPr lang="sv-SE" sz="2800" i="1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0182B95F-B432-42CD-831A-2360997ADDB6}"/>
              </a:ext>
            </a:extLst>
          </p:cNvPr>
          <p:cNvSpPr txBox="1">
            <a:spLocks/>
          </p:cNvSpPr>
          <p:nvPr/>
        </p:nvSpPr>
        <p:spPr>
          <a:xfrm>
            <a:off x="9935854" y="6386128"/>
            <a:ext cx="1536569" cy="372893"/>
          </a:xfrm>
          <a:prstGeom prst="rect">
            <a:avLst/>
          </a:prstGeom>
        </p:spPr>
        <p:txBody>
          <a:bodyPr/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8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SzPct val="50000"/>
              <a:buFontTx/>
              <a:buBlip>
                <a:blip r:embed="rId3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2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216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1160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SzPct val="50000"/>
              <a:buFontTx/>
              <a:buBlip>
                <a:blip r:embed="rId3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sv-SE" sz="1400" dirty="0"/>
              <a:t>2020-12-03</a:t>
            </a:r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2433A4E6-2A42-44A7-B910-CE3EAE8D0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302493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E1944E00-D130-45EC-BFD7-17610291EE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121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E1944E00-D130-45EC-BFD7-17610291E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ktangel 38" hidden="1">
            <a:extLst>
              <a:ext uri="{FF2B5EF4-FFF2-40B4-BE49-F238E27FC236}">
                <a16:creationId xmlns:a16="http://schemas.microsoft.com/office/drawing/2014/main" id="{BC06C12D-FF09-4C28-B5F9-443C918EEE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25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5C92E44A-1452-4E23-8AB9-E5F5421D6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042" y="1068920"/>
            <a:ext cx="9468295" cy="601200"/>
          </a:xfrm>
        </p:spPr>
        <p:txBody>
          <a:bodyPr/>
          <a:lstStyle/>
          <a:p>
            <a:r>
              <a:rPr lang="sv-SE" dirty="0"/>
              <a:t>Reinforced general hygiene measures </a:t>
            </a:r>
          </a:p>
        </p:txBody>
      </p:sp>
      <p:grpSp>
        <p:nvGrpSpPr>
          <p:cNvPr id="5" name="Group 21">
            <a:extLst>
              <a:ext uri="{FF2B5EF4-FFF2-40B4-BE49-F238E27FC236}">
                <a16:creationId xmlns:a16="http://schemas.microsoft.com/office/drawing/2014/main" id="{00FEE674-FB75-4AF3-88F5-130CAFC162D9}"/>
              </a:ext>
            </a:extLst>
          </p:cNvPr>
          <p:cNvGrpSpPr>
            <a:grpSpLocks/>
          </p:cNvGrpSpPr>
          <p:nvPr/>
        </p:nvGrpSpPr>
        <p:grpSpPr bwMode="auto">
          <a:xfrm>
            <a:off x="689624" y="2130871"/>
            <a:ext cx="1674002" cy="322263"/>
            <a:chOff x="317" y="788"/>
            <a:chExt cx="2415" cy="203"/>
          </a:xfrm>
        </p:grpSpPr>
        <p:sp>
          <p:nvSpPr>
            <p:cNvPr id="6" name="Line 22">
              <a:extLst>
                <a:ext uri="{FF2B5EF4-FFF2-40B4-BE49-F238E27FC236}">
                  <a16:creationId xmlns:a16="http://schemas.microsoft.com/office/drawing/2014/main" id="{EEE43429-1D53-483E-9635-C12456764C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 b="1" dirty="0"/>
            </a:p>
          </p:txBody>
        </p:sp>
        <p:sp>
          <p:nvSpPr>
            <p:cNvPr id="7" name="Text Box 23">
              <a:extLst>
                <a:ext uri="{FF2B5EF4-FFF2-40B4-BE49-F238E27FC236}">
                  <a16:creationId xmlns:a16="http://schemas.microsoft.com/office/drawing/2014/main" id="{5E225E64-CE5A-474A-8F09-DE747DAFD3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88"/>
              <a:ext cx="2415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Contact surfaces</a:t>
              </a:r>
            </a:p>
          </p:txBody>
        </p:sp>
      </p:grpSp>
      <p:sp>
        <p:nvSpPr>
          <p:cNvPr id="8" name="Rectangle 31">
            <a:extLst>
              <a:ext uri="{FF2B5EF4-FFF2-40B4-BE49-F238E27FC236}">
                <a16:creationId xmlns:a16="http://schemas.microsoft.com/office/drawing/2014/main" id="{A697015D-12BC-4520-BC99-8AC07CCE1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624" y="2483569"/>
            <a:ext cx="1609757" cy="4041055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Contact surfaces such as door handles, handrails, Self Service machines (CUSS), elevator buttons, door openers etc. are cleaned daily.</a:t>
            </a:r>
            <a:endParaRPr lang="sv-SE" altLang="en-US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</p:txBody>
      </p:sp>
      <p:grpSp>
        <p:nvGrpSpPr>
          <p:cNvPr id="9" name="Group 21">
            <a:extLst>
              <a:ext uri="{FF2B5EF4-FFF2-40B4-BE49-F238E27FC236}">
                <a16:creationId xmlns:a16="http://schemas.microsoft.com/office/drawing/2014/main" id="{EB61DA91-937B-481B-94F6-F70D444900BE}"/>
              </a:ext>
            </a:extLst>
          </p:cNvPr>
          <p:cNvGrpSpPr>
            <a:grpSpLocks/>
          </p:cNvGrpSpPr>
          <p:nvPr/>
        </p:nvGrpSpPr>
        <p:grpSpPr bwMode="auto">
          <a:xfrm>
            <a:off x="2386933" y="2052774"/>
            <a:ext cx="1888191" cy="384176"/>
            <a:chOff x="193" y="740"/>
            <a:chExt cx="2724" cy="242"/>
          </a:xfrm>
        </p:grpSpPr>
        <p:sp>
          <p:nvSpPr>
            <p:cNvPr id="10" name="Line 22">
              <a:extLst>
                <a:ext uri="{FF2B5EF4-FFF2-40B4-BE49-F238E27FC236}">
                  <a16:creationId xmlns:a16="http://schemas.microsoft.com/office/drawing/2014/main" id="{29256DC9-9C99-420E-A500-C3D4233439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 b="1" dirty="0"/>
            </a:p>
          </p:txBody>
        </p:sp>
        <p:sp>
          <p:nvSpPr>
            <p:cNvPr id="11" name="Text Box 23">
              <a:extLst>
                <a:ext uri="{FF2B5EF4-FFF2-40B4-BE49-F238E27FC236}">
                  <a16:creationId xmlns:a16="http://schemas.microsoft.com/office/drawing/2014/main" id="{49B48F52-B8FE-4285-BF77-F2F9C7B478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3" y="740"/>
              <a:ext cx="2724" cy="2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Cleaning frequency</a:t>
              </a:r>
            </a:p>
          </p:txBody>
        </p:sp>
      </p:grpSp>
      <p:sp>
        <p:nvSpPr>
          <p:cNvPr id="12" name="Rectangle 31">
            <a:extLst>
              <a:ext uri="{FF2B5EF4-FFF2-40B4-BE49-F238E27FC236}">
                <a16:creationId xmlns:a16="http://schemas.microsoft.com/office/drawing/2014/main" id="{435C7B20-4A9C-4BDB-817C-59D9ADB405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6734" y="2483571"/>
            <a:ext cx="1609757" cy="4041055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altLang="en-US" sz="1000" dirty="0">
                <a:latin typeface="Arial" charset="0"/>
                <a:cs typeface="Arial" charset="0"/>
              </a:rPr>
              <a:t>Cleaning in security checkpoints and PVK (staff &amp; goods)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altLang="en-US" sz="1000" dirty="0">
                <a:latin typeface="Arial" charset="0"/>
                <a:cs typeface="Arial" charset="0"/>
              </a:rPr>
              <a:t>Cleaning focus on area in use.</a:t>
            </a:r>
          </a:p>
          <a:p>
            <a:pPr defTabSz="1347788">
              <a:spcBef>
                <a:spcPct val="20000"/>
              </a:spcBef>
              <a:tabLst>
                <a:tab pos="87313" algn="l"/>
                <a:tab pos="430213" algn="l"/>
              </a:tabLst>
            </a:pPr>
            <a:endParaRPr lang="sv-SE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sz="1000" dirty="0">
              <a:latin typeface="Arial" charset="0"/>
              <a:cs typeface="Arial" charset="0"/>
            </a:endParaRPr>
          </a:p>
          <a:p>
            <a:pPr defTabSz="1347788">
              <a:spcBef>
                <a:spcPct val="20000"/>
              </a:spcBef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</p:txBody>
      </p:sp>
      <p:sp>
        <p:nvSpPr>
          <p:cNvPr id="13" name="Rectangle 31">
            <a:extLst>
              <a:ext uri="{FF2B5EF4-FFF2-40B4-BE49-F238E27FC236}">
                <a16:creationId xmlns:a16="http://schemas.microsoft.com/office/drawing/2014/main" id="{B7A27576-D018-4D57-9799-DCF5D7D2C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3381" y="2483571"/>
            <a:ext cx="1609757" cy="4041055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Swedavia ensures cleaning in accordance with the VGR County Infection Control Unit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Mops &amp; tablecloths are washed at a higher temperature than normal (90°C)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Established routines are reinforced and controlled by the cleaning supplier's management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The cleaning staff uses gloves.</a:t>
            </a:r>
            <a:br>
              <a:rPr lang="sv-SE" sz="1000" dirty="0"/>
            </a:br>
            <a:endParaRPr lang="sv-SE" sz="1000" dirty="0">
              <a:latin typeface="Arial" charset="0"/>
              <a:cs typeface="Arial" charset="0"/>
            </a:endParaRPr>
          </a:p>
        </p:txBody>
      </p:sp>
      <p:grpSp>
        <p:nvGrpSpPr>
          <p:cNvPr id="14" name="Group 21">
            <a:extLst>
              <a:ext uri="{FF2B5EF4-FFF2-40B4-BE49-F238E27FC236}">
                <a16:creationId xmlns:a16="http://schemas.microsoft.com/office/drawing/2014/main" id="{67B6B1C4-A545-4934-B877-D2D4F4E72B23}"/>
              </a:ext>
            </a:extLst>
          </p:cNvPr>
          <p:cNvGrpSpPr>
            <a:grpSpLocks/>
          </p:cNvGrpSpPr>
          <p:nvPr/>
        </p:nvGrpSpPr>
        <p:grpSpPr bwMode="auto">
          <a:xfrm>
            <a:off x="5981118" y="2056261"/>
            <a:ext cx="1972064" cy="396875"/>
            <a:chOff x="172" y="740"/>
            <a:chExt cx="2845" cy="250"/>
          </a:xfrm>
        </p:grpSpPr>
        <p:sp>
          <p:nvSpPr>
            <p:cNvPr id="15" name="Line 22">
              <a:extLst>
                <a:ext uri="{FF2B5EF4-FFF2-40B4-BE49-F238E27FC236}">
                  <a16:creationId xmlns:a16="http://schemas.microsoft.com/office/drawing/2014/main" id="{20B1AB27-0641-4128-9236-7088040EC4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 sz="2000" b="1" dirty="0"/>
            </a:p>
          </p:txBody>
        </p:sp>
        <p:sp>
          <p:nvSpPr>
            <p:cNvPr id="16" name="Text Box 23">
              <a:extLst>
                <a:ext uri="{FF2B5EF4-FFF2-40B4-BE49-F238E27FC236}">
                  <a16:creationId xmlns:a16="http://schemas.microsoft.com/office/drawing/2014/main" id="{FB15A45C-A68C-4FC9-9AA4-21DC5F3BA6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2" y="740"/>
              <a:ext cx="2845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Cleaning equipment</a:t>
              </a:r>
            </a:p>
          </p:txBody>
        </p:sp>
      </p:grpSp>
      <p:sp>
        <p:nvSpPr>
          <p:cNvPr id="17" name="Rectangle 31">
            <a:extLst>
              <a:ext uri="{FF2B5EF4-FFF2-40B4-BE49-F238E27FC236}">
                <a16:creationId xmlns:a16="http://schemas.microsoft.com/office/drawing/2014/main" id="{A90E9891-9909-4A74-BF9C-D04D669236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0028" y="2483571"/>
            <a:ext cx="1609757" cy="4041055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Mechanical cleaning in combination with bactericidal agents is used for all surfaces.</a:t>
            </a:r>
          </a:p>
          <a:p>
            <a:pPr marL="87313" indent="-87313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In addition to the standard according to the VGR County Infection Control Unit, there is the possibility of further customized disinfection, steam washing, machine washing and bactericides.</a:t>
            </a:r>
            <a:endParaRPr lang="sv-SE" altLang="en-US" sz="1000" dirty="0">
              <a:latin typeface="Arial" charset="0"/>
              <a:cs typeface="Arial" charset="0"/>
            </a:endParaRPr>
          </a:p>
        </p:txBody>
      </p:sp>
      <p:grpSp>
        <p:nvGrpSpPr>
          <p:cNvPr id="18" name="Group 21">
            <a:extLst>
              <a:ext uri="{FF2B5EF4-FFF2-40B4-BE49-F238E27FC236}">
                <a16:creationId xmlns:a16="http://schemas.microsoft.com/office/drawing/2014/main" id="{ABF4CC4A-4FCD-4702-B31B-A0F504CEC919}"/>
              </a:ext>
            </a:extLst>
          </p:cNvPr>
          <p:cNvGrpSpPr>
            <a:grpSpLocks/>
          </p:cNvGrpSpPr>
          <p:nvPr/>
        </p:nvGrpSpPr>
        <p:grpSpPr bwMode="auto">
          <a:xfrm>
            <a:off x="4289741" y="2016573"/>
            <a:ext cx="1736386" cy="436563"/>
            <a:chOff x="317" y="716"/>
            <a:chExt cx="2505" cy="275"/>
          </a:xfrm>
        </p:grpSpPr>
        <p:sp>
          <p:nvSpPr>
            <p:cNvPr id="19" name="Line 22">
              <a:extLst>
                <a:ext uri="{FF2B5EF4-FFF2-40B4-BE49-F238E27FC236}">
                  <a16:creationId xmlns:a16="http://schemas.microsoft.com/office/drawing/2014/main" id="{5F9ACE2F-F95E-438F-850C-9C417AB6E5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 b="1" dirty="0"/>
            </a:p>
          </p:txBody>
        </p:sp>
        <p:sp>
          <p:nvSpPr>
            <p:cNvPr id="20" name="Text Box 23">
              <a:extLst>
                <a:ext uri="{FF2B5EF4-FFF2-40B4-BE49-F238E27FC236}">
                  <a16:creationId xmlns:a16="http://schemas.microsoft.com/office/drawing/2014/main" id="{3A3FA9DC-8866-494D-82D3-28F4B013B5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16"/>
              <a:ext cx="2505" cy="2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Cleaning routines</a:t>
              </a:r>
            </a:p>
          </p:txBody>
        </p:sp>
      </p:grpSp>
      <p:sp>
        <p:nvSpPr>
          <p:cNvPr id="24" name="Rectangle 31">
            <a:extLst>
              <a:ext uri="{FF2B5EF4-FFF2-40B4-BE49-F238E27FC236}">
                <a16:creationId xmlns:a16="http://schemas.microsoft.com/office/drawing/2014/main" id="{67C10EC8-71F5-4CF0-A9C0-05EF35B33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6675" y="2483571"/>
            <a:ext cx="1609757" cy="4041055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High-altitude cleaning including cleaning of ventilation is performed continuously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Regular cleaning of the ventilation system and air filter.</a:t>
            </a:r>
          </a:p>
        </p:txBody>
      </p:sp>
      <p:grpSp>
        <p:nvGrpSpPr>
          <p:cNvPr id="25" name="Group 21">
            <a:extLst>
              <a:ext uri="{FF2B5EF4-FFF2-40B4-BE49-F238E27FC236}">
                <a16:creationId xmlns:a16="http://schemas.microsoft.com/office/drawing/2014/main" id="{447CECB0-F22E-450E-AE74-CDF32FB1473C}"/>
              </a:ext>
            </a:extLst>
          </p:cNvPr>
          <p:cNvGrpSpPr>
            <a:grpSpLocks/>
          </p:cNvGrpSpPr>
          <p:nvPr/>
        </p:nvGrpSpPr>
        <p:grpSpPr bwMode="auto">
          <a:xfrm>
            <a:off x="9713322" y="2056261"/>
            <a:ext cx="1709353" cy="396875"/>
            <a:chOff x="317" y="740"/>
            <a:chExt cx="2466" cy="250"/>
          </a:xfrm>
        </p:grpSpPr>
        <p:sp>
          <p:nvSpPr>
            <p:cNvPr id="26" name="Line 22">
              <a:extLst>
                <a:ext uri="{FF2B5EF4-FFF2-40B4-BE49-F238E27FC236}">
                  <a16:creationId xmlns:a16="http://schemas.microsoft.com/office/drawing/2014/main" id="{7ACFB2CE-AA1E-4B48-B4E4-2744DC59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 b="1" dirty="0"/>
            </a:p>
          </p:txBody>
        </p:sp>
        <p:sp>
          <p:nvSpPr>
            <p:cNvPr id="27" name="Text Box 23">
              <a:extLst>
                <a:ext uri="{FF2B5EF4-FFF2-40B4-BE49-F238E27FC236}">
                  <a16:creationId xmlns:a16="http://schemas.microsoft.com/office/drawing/2014/main" id="{E3DB80B2-8336-478A-891F-855F585AD9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40"/>
              <a:ext cx="2466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Cleaning staff</a:t>
              </a:r>
            </a:p>
          </p:txBody>
        </p:sp>
      </p:grpSp>
      <p:sp>
        <p:nvSpPr>
          <p:cNvPr id="28" name="Rectangle 31">
            <a:extLst>
              <a:ext uri="{FF2B5EF4-FFF2-40B4-BE49-F238E27FC236}">
                <a16:creationId xmlns:a16="http://schemas.microsoft.com/office/drawing/2014/main" id="{C19DB284-3158-407E-8243-230611A31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3322" y="2483571"/>
            <a:ext cx="1609757" cy="4041055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Our cleaning staff follows the recommendations of the public health authorities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All employees stay at home/are sent home in case of illness or suspicion thereof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The Swedish state has taken away the unpaid first day of absence due to illness </a:t>
            </a:r>
            <a:br>
              <a:rPr lang="en-US" altLang="en-US" sz="1000" dirty="0">
                <a:latin typeface="Arial" charset="0"/>
                <a:cs typeface="Arial" charset="0"/>
              </a:rPr>
            </a:br>
            <a:r>
              <a:rPr lang="en-US" altLang="en-US" sz="1000" dirty="0">
                <a:latin typeface="Arial" charset="0"/>
                <a:cs typeface="Arial" charset="0"/>
              </a:rPr>
              <a:t>- this to prevent employees from going to work when they are sick.</a:t>
            </a:r>
          </a:p>
        </p:txBody>
      </p:sp>
      <p:grpSp>
        <p:nvGrpSpPr>
          <p:cNvPr id="29" name="Group 21">
            <a:extLst>
              <a:ext uri="{FF2B5EF4-FFF2-40B4-BE49-F238E27FC236}">
                <a16:creationId xmlns:a16="http://schemas.microsoft.com/office/drawing/2014/main" id="{55207F17-2955-4162-A87E-FA84C5B16DB8}"/>
              </a:ext>
            </a:extLst>
          </p:cNvPr>
          <p:cNvGrpSpPr>
            <a:grpSpLocks/>
          </p:cNvGrpSpPr>
          <p:nvPr/>
        </p:nvGrpSpPr>
        <p:grpSpPr bwMode="auto">
          <a:xfrm>
            <a:off x="7903566" y="2056261"/>
            <a:ext cx="1634491" cy="396875"/>
            <a:chOff x="317" y="740"/>
            <a:chExt cx="2358" cy="250"/>
          </a:xfrm>
        </p:grpSpPr>
        <p:sp>
          <p:nvSpPr>
            <p:cNvPr id="30" name="Line 22">
              <a:extLst>
                <a:ext uri="{FF2B5EF4-FFF2-40B4-BE49-F238E27FC236}">
                  <a16:creationId xmlns:a16="http://schemas.microsoft.com/office/drawing/2014/main" id="{368B4C0D-90E3-4ED4-83F8-45255471C2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 b="1" dirty="0"/>
            </a:p>
          </p:txBody>
        </p:sp>
        <p:sp>
          <p:nvSpPr>
            <p:cNvPr id="31" name="Text Box 23">
              <a:extLst>
                <a:ext uri="{FF2B5EF4-FFF2-40B4-BE49-F238E27FC236}">
                  <a16:creationId xmlns:a16="http://schemas.microsoft.com/office/drawing/2014/main" id="{A57237AF-BFD6-4516-81F2-A8C94B9AE3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40"/>
              <a:ext cx="2358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Ventilation</a:t>
              </a:r>
            </a:p>
          </p:txBody>
        </p:sp>
      </p:grpSp>
      <p:pic>
        <p:nvPicPr>
          <p:cNvPr id="29700" name="Picture 4" descr="https://static.thenounproject.com/png/3249704-200.png">
            <a:extLst>
              <a:ext uri="{FF2B5EF4-FFF2-40B4-BE49-F238E27FC236}">
                <a16:creationId xmlns:a16="http://schemas.microsoft.com/office/drawing/2014/main" id="{81F3FF50-4BA6-4FF3-8ED5-97103715BB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008" y="1421833"/>
            <a:ext cx="711046" cy="711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27" name="Picture 7" descr="https://static.thenounproject.com/png/2052648-200.png">
            <a:extLst>
              <a:ext uri="{FF2B5EF4-FFF2-40B4-BE49-F238E27FC236}">
                <a16:creationId xmlns:a16="http://schemas.microsoft.com/office/drawing/2014/main" id="{9AB8C3B2-1244-408A-8E88-2F8F95EAB7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604" y="1412875"/>
            <a:ext cx="699894" cy="699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8" name="Picture 48" descr="cleaning Icon 2836358">
            <a:extLst>
              <a:ext uri="{FF2B5EF4-FFF2-40B4-BE49-F238E27FC236}">
                <a16:creationId xmlns:a16="http://schemas.microsoft.com/office/drawing/2014/main" id="{621C8172-B68E-4451-B9AD-E9E8E6BDA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557" y="1412875"/>
            <a:ext cx="711046" cy="711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0" name="Picture 50" descr="clipboard checklist Icon 3195654">
            <a:extLst>
              <a:ext uri="{FF2B5EF4-FFF2-40B4-BE49-F238E27FC236}">
                <a16:creationId xmlns:a16="http://schemas.microsoft.com/office/drawing/2014/main" id="{2F8DE9AC-421D-4C86-A4E0-B405B7B39B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4887" y="1421833"/>
            <a:ext cx="699894" cy="699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4" name="Picture 54" descr="Housekeeping Icon 3160141">
            <a:extLst>
              <a:ext uri="{FF2B5EF4-FFF2-40B4-BE49-F238E27FC236}">
                <a16:creationId xmlns:a16="http://schemas.microsoft.com/office/drawing/2014/main" id="{BB56A9E9-5969-44AF-AFB9-E2A18B717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019" y="1432082"/>
            <a:ext cx="734459" cy="73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7" name="Picture 57" descr="staff Icon 883920">
            <a:extLst>
              <a:ext uri="{FF2B5EF4-FFF2-40B4-BE49-F238E27FC236}">
                <a16:creationId xmlns:a16="http://schemas.microsoft.com/office/drawing/2014/main" id="{5AE96337-CBA2-4504-96EB-F6948534B2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4353" y="1412875"/>
            <a:ext cx="667690" cy="66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7B3A26FA-7836-48B1-A230-BC3092F98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10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75490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6E54A8-3DD1-4E09-B2D7-90167FB6F7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475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6E54A8-3DD1-4E09-B2D7-90167FB6F7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objekt 14">
            <a:extLst>
              <a:ext uri="{FF2B5EF4-FFF2-40B4-BE49-F238E27FC236}">
                <a16:creationId xmlns:a16="http://schemas.microsoft.com/office/drawing/2014/main" id="{CB889AD5-3387-41AF-B3FC-EEE4F8054E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64031" y="579075"/>
            <a:ext cx="5377375" cy="5945550"/>
          </a:xfrm>
          <a:prstGeom prst="rect">
            <a:avLst/>
          </a:prstGeom>
        </p:spPr>
      </p:pic>
      <p:sp>
        <p:nvSpPr>
          <p:cNvPr id="13" name="Rubrik 15">
            <a:extLst>
              <a:ext uri="{FF2B5EF4-FFF2-40B4-BE49-F238E27FC236}">
                <a16:creationId xmlns:a16="http://schemas.microsoft.com/office/drawing/2014/main" id="{597CCE7F-B652-4FE8-BD55-9AE4BF39733E}"/>
              </a:ext>
            </a:extLst>
          </p:cNvPr>
          <p:cNvSpPr txBox="1">
            <a:spLocks/>
          </p:cNvSpPr>
          <p:nvPr/>
        </p:nvSpPr>
        <p:spPr>
          <a:xfrm>
            <a:off x="724078" y="1217512"/>
            <a:ext cx="7056304" cy="13005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>
                <a:solidFill>
                  <a:schemeClr val="tx1"/>
                </a:solidFill>
              </a:rPr>
              <a:t>Retail, Food &amp; Beverage</a:t>
            </a:r>
          </a:p>
        </p:txBody>
      </p:sp>
      <p:sp>
        <p:nvSpPr>
          <p:cNvPr id="16" name="Platshållare för bildnummer 15">
            <a:extLst>
              <a:ext uri="{FF2B5EF4-FFF2-40B4-BE49-F238E27FC236}">
                <a16:creationId xmlns:a16="http://schemas.microsoft.com/office/drawing/2014/main" id="{F8E41AFA-0995-4521-9580-C7524D6C2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D0347-586D-4658-B04E-1AB0D657410F}" type="slidenum">
              <a:rPr lang="sv-SE" smtClean="0"/>
              <a:pPr/>
              <a:t>1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61020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E1944E00-D130-45EC-BFD7-17610291EE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2905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E1944E00-D130-45EC-BFD7-17610291E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ktangel 38" hidden="1">
            <a:extLst>
              <a:ext uri="{FF2B5EF4-FFF2-40B4-BE49-F238E27FC236}">
                <a16:creationId xmlns:a16="http://schemas.microsoft.com/office/drawing/2014/main" id="{BC06C12D-FF09-4C28-B5F9-443C918EEE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25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5C92E44A-1452-4E23-8AB9-E5F5421D6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016" y="955642"/>
            <a:ext cx="9468295" cy="601200"/>
          </a:xfrm>
        </p:spPr>
        <p:txBody>
          <a:bodyPr/>
          <a:lstStyle/>
          <a:p>
            <a:r>
              <a:rPr lang="sv-SE" dirty="0"/>
              <a:t>Creating safe environments for passengers and employees</a:t>
            </a:r>
          </a:p>
        </p:txBody>
      </p:sp>
      <p:grpSp>
        <p:nvGrpSpPr>
          <p:cNvPr id="35" name="Group 21">
            <a:extLst>
              <a:ext uri="{FF2B5EF4-FFF2-40B4-BE49-F238E27FC236}">
                <a16:creationId xmlns:a16="http://schemas.microsoft.com/office/drawing/2014/main" id="{9C482DA2-2DA5-455A-A5C8-AA6BF9038277}"/>
              </a:ext>
            </a:extLst>
          </p:cNvPr>
          <p:cNvGrpSpPr>
            <a:grpSpLocks/>
          </p:cNvGrpSpPr>
          <p:nvPr/>
        </p:nvGrpSpPr>
        <p:grpSpPr bwMode="auto">
          <a:xfrm>
            <a:off x="1021982" y="2059270"/>
            <a:ext cx="1977887" cy="396875"/>
            <a:chOff x="199" y="740"/>
            <a:chExt cx="2594" cy="250"/>
          </a:xfrm>
        </p:grpSpPr>
        <p:sp>
          <p:nvSpPr>
            <p:cNvPr id="36" name="Line 22">
              <a:extLst>
                <a:ext uri="{FF2B5EF4-FFF2-40B4-BE49-F238E27FC236}">
                  <a16:creationId xmlns:a16="http://schemas.microsoft.com/office/drawing/2014/main" id="{EDEB5442-C026-4EF2-9062-E35EF46175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 b="1" dirty="0"/>
            </a:p>
          </p:txBody>
        </p:sp>
        <p:sp>
          <p:nvSpPr>
            <p:cNvPr id="37" name="Text Box 23">
              <a:extLst>
                <a:ext uri="{FF2B5EF4-FFF2-40B4-BE49-F238E27FC236}">
                  <a16:creationId xmlns:a16="http://schemas.microsoft.com/office/drawing/2014/main" id="{37B60F30-C470-4064-91EE-09D8BD375E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9" y="740"/>
              <a:ext cx="2594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algn="ctr"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Restaurants </a:t>
              </a:r>
            </a:p>
          </p:txBody>
        </p:sp>
      </p:grpSp>
      <p:sp>
        <p:nvSpPr>
          <p:cNvPr id="38" name="Rectangle 31">
            <a:extLst>
              <a:ext uri="{FF2B5EF4-FFF2-40B4-BE49-F238E27FC236}">
                <a16:creationId xmlns:a16="http://schemas.microsoft.com/office/drawing/2014/main" id="{A1904362-1F5A-4AF0-B3B2-BF7C08A1C1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6051" y="2486246"/>
            <a:ext cx="1797940" cy="4038380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Airports’ Food &amp; Beverage units follow the guidelines and recommendations of the public health authorities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Each operator continuously conducts an inventory of measures taken together with Swedavia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No buffets are served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Only table service or cash order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Kitchen staff use gloves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Blockage of seats or rearranging of furniture allow for social distance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Several units offer take-away meals. </a:t>
            </a:r>
            <a:endParaRPr lang="sv-SE" altLang="en-US" sz="1000" dirty="0">
              <a:latin typeface="Arial" charset="0"/>
              <a:cs typeface="Arial" charset="0"/>
            </a:endParaRPr>
          </a:p>
        </p:txBody>
      </p:sp>
      <p:grpSp>
        <p:nvGrpSpPr>
          <p:cNvPr id="40" name="Group 21">
            <a:extLst>
              <a:ext uri="{FF2B5EF4-FFF2-40B4-BE49-F238E27FC236}">
                <a16:creationId xmlns:a16="http://schemas.microsoft.com/office/drawing/2014/main" id="{1E3236BF-0C82-4070-AD63-00D9DC130619}"/>
              </a:ext>
            </a:extLst>
          </p:cNvPr>
          <p:cNvGrpSpPr>
            <a:grpSpLocks/>
          </p:cNvGrpSpPr>
          <p:nvPr/>
        </p:nvGrpSpPr>
        <p:grpSpPr bwMode="auto">
          <a:xfrm>
            <a:off x="3616569" y="2032468"/>
            <a:ext cx="1797940" cy="426347"/>
            <a:chOff x="317" y="740"/>
            <a:chExt cx="2358" cy="250"/>
          </a:xfrm>
        </p:grpSpPr>
        <p:sp>
          <p:nvSpPr>
            <p:cNvPr id="42" name="Line 22">
              <a:extLst>
                <a:ext uri="{FF2B5EF4-FFF2-40B4-BE49-F238E27FC236}">
                  <a16:creationId xmlns:a16="http://schemas.microsoft.com/office/drawing/2014/main" id="{83C84593-5A1B-4696-AD33-1A44DD2758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 b="1" dirty="0"/>
            </a:p>
          </p:txBody>
        </p:sp>
        <p:sp>
          <p:nvSpPr>
            <p:cNvPr id="43" name="Text Box 23">
              <a:extLst>
                <a:ext uri="{FF2B5EF4-FFF2-40B4-BE49-F238E27FC236}">
                  <a16:creationId xmlns:a16="http://schemas.microsoft.com/office/drawing/2014/main" id="{2BB455DE-4239-46CC-80DD-12CD272CAD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40"/>
              <a:ext cx="2358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algn="ctr"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Shops</a:t>
              </a:r>
            </a:p>
          </p:txBody>
        </p:sp>
      </p:grpSp>
      <p:sp>
        <p:nvSpPr>
          <p:cNvPr id="44" name="Rectangle 31">
            <a:extLst>
              <a:ext uri="{FF2B5EF4-FFF2-40B4-BE49-F238E27FC236}">
                <a16:creationId xmlns:a16="http://schemas.microsoft.com/office/drawing/2014/main" id="{EF3B6A5B-E5CD-489E-A97E-94BFB50FC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433" y="2496459"/>
            <a:ext cx="1770733" cy="4038380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Airport retail units follow the guidelines and recommendations of the public health authorities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Each operator continuously conducts an inventory of measures taken together with Swedavia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The number of visitors is limited when necessary.</a:t>
            </a:r>
            <a:endParaRPr lang="sv-SE" altLang="en-US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</p:txBody>
      </p:sp>
      <p:sp>
        <p:nvSpPr>
          <p:cNvPr id="45" name="Rectangle 31">
            <a:extLst>
              <a:ext uri="{FF2B5EF4-FFF2-40B4-BE49-F238E27FC236}">
                <a16:creationId xmlns:a16="http://schemas.microsoft.com/office/drawing/2014/main" id="{5F60E4A5-4F0D-4499-A7E4-42C2A8A9B5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0027" y="2496459"/>
            <a:ext cx="1770733" cy="4038380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sz="1000" dirty="0">
                <a:latin typeface="Arial" charset="0"/>
                <a:cs typeface="Arial" charset="0"/>
              </a:rPr>
              <a:t>An upside with the central handling of goods at GOT is that it reduces the presence of external operators on the Swedavia premises.</a:t>
            </a: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sz="1000" dirty="0">
                <a:latin typeface="Arial" charset="0"/>
                <a:cs typeface="Arial" charset="0"/>
              </a:rPr>
              <a:t>Delivery of goods will continue to be in accordance with all applicable food hygiene regulations.</a:t>
            </a:r>
            <a:endParaRPr lang="sv-SE" sz="1000" dirty="0">
              <a:latin typeface="Arial" charset="0"/>
              <a:cs typeface="Arial" charset="0"/>
            </a:endParaRPr>
          </a:p>
        </p:txBody>
      </p:sp>
      <p:grpSp>
        <p:nvGrpSpPr>
          <p:cNvPr id="46" name="Group 21">
            <a:extLst>
              <a:ext uri="{FF2B5EF4-FFF2-40B4-BE49-F238E27FC236}">
                <a16:creationId xmlns:a16="http://schemas.microsoft.com/office/drawing/2014/main" id="{F7B590DC-EE33-417F-AA10-DD492A6151C5}"/>
              </a:ext>
            </a:extLst>
          </p:cNvPr>
          <p:cNvGrpSpPr>
            <a:grpSpLocks/>
          </p:cNvGrpSpPr>
          <p:nvPr/>
        </p:nvGrpSpPr>
        <p:grpSpPr bwMode="auto">
          <a:xfrm>
            <a:off x="8413397" y="2041612"/>
            <a:ext cx="1985511" cy="426347"/>
            <a:chOff x="317" y="740"/>
            <a:chExt cx="2604" cy="250"/>
          </a:xfrm>
        </p:grpSpPr>
        <p:sp>
          <p:nvSpPr>
            <p:cNvPr id="47" name="Line 22">
              <a:extLst>
                <a:ext uri="{FF2B5EF4-FFF2-40B4-BE49-F238E27FC236}">
                  <a16:creationId xmlns:a16="http://schemas.microsoft.com/office/drawing/2014/main" id="{F215AA32-C957-468C-ABC8-7D1DA4E0A6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 sz="2000" b="1" dirty="0"/>
            </a:p>
          </p:txBody>
        </p:sp>
        <p:sp>
          <p:nvSpPr>
            <p:cNvPr id="48" name="Text Box 23">
              <a:extLst>
                <a:ext uri="{FF2B5EF4-FFF2-40B4-BE49-F238E27FC236}">
                  <a16:creationId xmlns:a16="http://schemas.microsoft.com/office/drawing/2014/main" id="{5835DB50-B4D7-4476-9F59-12F795D7C4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40"/>
              <a:ext cx="2604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algn="ctr" eaLnBrk="0" hangingPunct="0">
                <a:spcBef>
                  <a:spcPct val="50000"/>
                </a:spcBef>
              </a:pPr>
              <a:r>
                <a:rPr lang="sv-SE" altLang="en-US" sz="1400" b="1" dirty="0"/>
                <a:t>Area limitations </a:t>
              </a:r>
            </a:p>
          </p:txBody>
        </p:sp>
      </p:grpSp>
      <p:sp>
        <p:nvSpPr>
          <p:cNvPr id="49" name="Rectangle 31">
            <a:extLst>
              <a:ext uri="{FF2B5EF4-FFF2-40B4-BE49-F238E27FC236}">
                <a16:creationId xmlns:a16="http://schemas.microsoft.com/office/drawing/2014/main" id="{CE81E843-6215-4B15-BEE0-AA859FF0AA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3620" y="2496459"/>
            <a:ext cx="1770733" cy="4038380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There will be an ongoing evaluation and measures will be taken to reduce contamination on surfaces such as playgrounds, seating areas and water fountains.</a:t>
            </a:r>
            <a:endParaRPr lang="sv-SE" altLang="en-US" sz="1000" dirty="0">
              <a:latin typeface="Arial" charset="0"/>
              <a:cs typeface="Arial" charset="0"/>
            </a:endParaRPr>
          </a:p>
          <a:p>
            <a:pPr marL="87313" indent="-87313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 charset="0"/>
              <a:cs typeface="Arial" charset="0"/>
            </a:endParaRPr>
          </a:p>
        </p:txBody>
      </p:sp>
      <p:grpSp>
        <p:nvGrpSpPr>
          <p:cNvPr id="50" name="Group 21">
            <a:extLst>
              <a:ext uri="{FF2B5EF4-FFF2-40B4-BE49-F238E27FC236}">
                <a16:creationId xmlns:a16="http://schemas.microsoft.com/office/drawing/2014/main" id="{B68F17EC-1DEE-4EB2-9847-0926094FCFFA}"/>
              </a:ext>
            </a:extLst>
          </p:cNvPr>
          <p:cNvGrpSpPr>
            <a:grpSpLocks/>
          </p:cNvGrpSpPr>
          <p:nvPr/>
        </p:nvGrpSpPr>
        <p:grpSpPr bwMode="auto">
          <a:xfrm>
            <a:off x="5919800" y="2032026"/>
            <a:ext cx="1977887" cy="426347"/>
            <a:chOff x="199" y="740"/>
            <a:chExt cx="2594" cy="250"/>
          </a:xfrm>
        </p:grpSpPr>
        <p:sp>
          <p:nvSpPr>
            <p:cNvPr id="51" name="Line 22">
              <a:extLst>
                <a:ext uri="{FF2B5EF4-FFF2-40B4-BE49-F238E27FC236}">
                  <a16:creationId xmlns:a16="http://schemas.microsoft.com/office/drawing/2014/main" id="{D7DF453B-3EA8-4896-9413-02E5E8755A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sv-SE" b="1" dirty="0"/>
            </a:p>
          </p:txBody>
        </p:sp>
        <p:sp>
          <p:nvSpPr>
            <p:cNvPr id="52" name="Text Box 23">
              <a:extLst>
                <a:ext uri="{FF2B5EF4-FFF2-40B4-BE49-F238E27FC236}">
                  <a16:creationId xmlns:a16="http://schemas.microsoft.com/office/drawing/2014/main" id="{E2BD79E0-37A5-48D7-BF78-08BA325B7DD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9" y="740"/>
              <a:ext cx="2594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algn="ctr"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Deliveries</a:t>
              </a:r>
            </a:p>
          </p:txBody>
        </p:sp>
      </p:grpSp>
      <p:pic>
        <p:nvPicPr>
          <p:cNvPr id="57" name="Picture 2" descr="https://static.thenounproject.com/png/1213073-200.png">
            <a:extLst>
              <a:ext uri="{FF2B5EF4-FFF2-40B4-BE49-F238E27FC236}">
                <a16:creationId xmlns:a16="http://schemas.microsoft.com/office/drawing/2014/main" id="{6466A2A3-43C8-47D2-B79F-65B7C7DEC9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3697" y="1383488"/>
            <a:ext cx="734459" cy="73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 descr="https://static.thenounproject.com/png/17962-200.png">
            <a:extLst>
              <a:ext uri="{FF2B5EF4-FFF2-40B4-BE49-F238E27FC236}">
                <a16:creationId xmlns:a16="http://schemas.microsoft.com/office/drawing/2014/main" id="{A0329F91-8E1B-4AB3-A02B-2744747AB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8456" y="1424564"/>
            <a:ext cx="666682" cy="716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8" descr="https://static.thenounproject.com/png/1046456-200.png">
            <a:extLst>
              <a:ext uri="{FF2B5EF4-FFF2-40B4-BE49-F238E27FC236}">
                <a16:creationId xmlns:a16="http://schemas.microsoft.com/office/drawing/2014/main" id="{5723C0E2-01C0-436A-9A11-3CACDC5B4D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548" y="1406298"/>
            <a:ext cx="683686" cy="734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9" descr="https://static.thenounproject.com/png/1353896-200.png">
            <a:extLst>
              <a:ext uri="{FF2B5EF4-FFF2-40B4-BE49-F238E27FC236}">
                <a16:creationId xmlns:a16="http://schemas.microsoft.com/office/drawing/2014/main" id="{ADC7118A-D23E-4DD8-99E7-DBBB03F8FB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727" y="1397549"/>
            <a:ext cx="667690" cy="717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A522D64C-8B18-4A65-BFF7-EFF7D05E0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1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81948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6D56216-892D-4D96-BEA7-C0E4B577E3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00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6D56216-892D-4D96-BEA7-C0E4B577E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0294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FF7BFE21-2F71-43B4-BF08-D12CF26C39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79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FF7BFE21-2F71-43B4-BF08-D12CF26C3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ktangel 11" hidden="1">
            <a:extLst>
              <a:ext uri="{FF2B5EF4-FFF2-40B4-BE49-F238E27FC236}">
                <a16:creationId xmlns:a16="http://schemas.microsoft.com/office/drawing/2014/main" id="{AB570E6F-A77D-48ED-96D7-FF66D817C2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25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ubrik 8">
            <a:extLst>
              <a:ext uri="{FF2B5EF4-FFF2-40B4-BE49-F238E27FC236}">
                <a16:creationId xmlns:a16="http://schemas.microsoft.com/office/drawing/2014/main" id="{5787672F-F8F0-4C19-95EF-F691409DC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588" y="1087120"/>
            <a:ext cx="8722800" cy="508000"/>
          </a:xfrm>
        </p:spPr>
        <p:txBody>
          <a:bodyPr/>
          <a:lstStyle/>
          <a:p>
            <a:r>
              <a:rPr lang="sv-SE" dirty="0"/>
              <a:t>Local adjustments of the EASA recommendations*</a:t>
            </a:r>
          </a:p>
        </p:txBody>
      </p:sp>
      <p:graphicFrame>
        <p:nvGraphicFramePr>
          <p:cNvPr id="13" name="Platshållare för innehåll 12">
            <a:extLst>
              <a:ext uri="{FF2B5EF4-FFF2-40B4-BE49-F238E27FC236}">
                <a16:creationId xmlns:a16="http://schemas.microsoft.com/office/drawing/2014/main" id="{236B0965-460F-4A2C-B81E-FE2040532AD5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469401976"/>
              </p:ext>
            </p:extLst>
          </p:nvPr>
        </p:nvGraphicFramePr>
        <p:xfrm>
          <a:off x="636588" y="1663622"/>
          <a:ext cx="5262880" cy="3667276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042180">
                  <a:extLst>
                    <a:ext uri="{9D8B030D-6E8A-4147-A177-3AD203B41FA5}">
                      <a16:colId xmlns:a16="http://schemas.microsoft.com/office/drawing/2014/main" val="2363462037"/>
                    </a:ext>
                  </a:extLst>
                </a:gridCol>
                <a:gridCol w="2220700">
                  <a:extLst>
                    <a:ext uri="{9D8B030D-6E8A-4147-A177-3AD203B41FA5}">
                      <a16:colId xmlns:a16="http://schemas.microsoft.com/office/drawing/2014/main" val="863354306"/>
                    </a:ext>
                  </a:extLst>
                </a:gridCol>
              </a:tblGrid>
              <a:tr h="344668">
                <a:tc>
                  <a:txBody>
                    <a:bodyPr/>
                    <a:lstStyle/>
                    <a:p>
                      <a:pPr marL="115570" indent="-90170"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Measures</a:t>
                      </a:r>
                      <a:endParaRPr lang="sv-SE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15570" indent="-90170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Swedavia </a:t>
                      </a:r>
                      <a:endParaRPr lang="sv-SE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119637"/>
                  </a:ext>
                </a:extLst>
              </a:tr>
              <a:tr h="429164">
                <a:tc>
                  <a:txBody>
                    <a:bodyPr/>
                    <a:lstStyle/>
                    <a:p>
                      <a:pPr marL="115570" indent="-90170"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sv-SE" sz="1200" b="1" dirty="0">
                          <a:effectLst/>
                        </a:rPr>
                        <a:t>Physical distancing</a:t>
                      </a:r>
                      <a:endParaRPr lang="sv-SE" sz="1200" b="1" dirty="0"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82600" indent="-457200" algn="ctr">
                        <a:lnSpc>
                          <a:spcPct val="12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GB" sz="2800" b="1" dirty="0">
                          <a:effectLst/>
                        </a:rPr>
                        <a:t> </a:t>
                      </a:r>
                      <a:endParaRPr lang="sv-SE" sz="2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1939590"/>
                  </a:ext>
                </a:extLst>
              </a:tr>
              <a:tr h="429164">
                <a:tc>
                  <a:txBody>
                    <a:bodyPr/>
                    <a:lstStyle/>
                    <a:p>
                      <a:pPr marL="115570" indent="-90170"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sv-SE" sz="1200" b="1" dirty="0">
                          <a:effectLst/>
                        </a:rPr>
                        <a:t>Hand hygiene, respiratory etiquette</a:t>
                      </a:r>
                      <a:endParaRPr lang="sv-SE" sz="1200" b="1" dirty="0"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82600" indent="-457200" algn="ctr">
                        <a:lnSpc>
                          <a:spcPct val="12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GB" sz="2800" b="1" dirty="0">
                          <a:effectLst/>
                        </a:rPr>
                        <a:t> </a:t>
                      </a:r>
                      <a:endParaRPr lang="sv-SE" sz="2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126268"/>
                  </a:ext>
                </a:extLst>
              </a:tr>
              <a:tr h="429164">
                <a:tc>
                  <a:txBody>
                    <a:bodyPr/>
                    <a:lstStyle/>
                    <a:p>
                      <a:pPr marL="115570" indent="-90170"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sv-SE" sz="1200" b="1" dirty="0">
                          <a:effectLst/>
                        </a:rPr>
                        <a:t>Face masks</a:t>
                      </a:r>
                      <a:endParaRPr lang="sv-SE" sz="1200" b="1" dirty="0"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82600" indent="-457200" algn="ctr">
                        <a:lnSpc>
                          <a:spcPct val="12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GB" sz="2800" b="1" dirty="0">
                          <a:effectLst/>
                        </a:rPr>
                        <a:t> </a:t>
                      </a:r>
                      <a:endParaRPr lang="sv-SE" sz="2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13830"/>
                  </a:ext>
                </a:extLst>
              </a:tr>
              <a:tr h="369314">
                <a:tc>
                  <a:txBody>
                    <a:bodyPr/>
                    <a:lstStyle/>
                    <a:p>
                      <a:pPr marL="115570" indent="-90170"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sv-SE" sz="1200" b="1" dirty="0">
                          <a:effectLst/>
                        </a:rPr>
                        <a:t>Health safety promotion material</a:t>
                      </a:r>
                      <a:endParaRPr lang="sv-SE" sz="1200" b="1" dirty="0"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82600" indent="-457200" algn="ctr">
                        <a:lnSpc>
                          <a:spcPct val="12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2800" b="1" dirty="0">
                          <a:effectLst/>
                        </a:rPr>
                        <a:t> </a:t>
                      </a:r>
                      <a:endParaRPr lang="sv-SE" sz="2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0925608"/>
                  </a:ext>
                </a:extLst>
              </a:tr>
              <a:tr h="369314">
                <a:tc>
                  <a:txBody>
                    <a:bodyPr/>
                    <a:lstStyle/>
                    <a:p>
                      <a:pPr marL="115570" indent="-90170"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sv-SE" sz="1200" b="1" dirty="0">
                          <a:effectLst/>
                        </a:rPr>
                        <a:t>Cleaning and Disinfection</a:t>
                      </a:r>
                      <a:endParaRPr lang="sv-SE" sz="1200" b="1" dirty="0"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82600" indent="-457200" algn="ctr">
                        <a:lnSpc>
                          <a:spcPct val="12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GB" sz="2800" b="1" dirty="0">
                          <a:effectLst/>
                        </a:rPr>
                        <a:t> </a:t>
                      </a:r>
                      <a:endParaRPr lang="sv-SE" sz="28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2836271"/>
                  </a:ext>
                </a:extLst>
              </a:tr>
              <a:tr h="429164">
                <a:tc>
                  <a:txBody>
                    <a:bodyPr/>
                    <a:lstStyle/>
                    <a:p>
                      <a:pPr marL="115570" indent="-90170"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sv-SE" sz="1200" b="1" dirty="0">
                          <a:effectLst/>
                        </a:rPr>
                        <a:t>Health statement</a:t>
                      </a:r>
                      <a:endParaRPr lang="sv-SE" sz="1200" b="1" dirty="0"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115570" indent="-90170"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 </a:t>
                      </a:r>
                      <a:r>
                        <a:rPr lang="en-US" sz="1000" b="1" dirty="0">
                          <a:effectLst/>
                        </a:rPr>
                        <a:t>Handled by GH &amp; airline. </a:t>
                      </a:r>
                      <a:endParaRPr lang="sv-SE" sz="10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8283"/>
                  </a:ext>
                </a:extLst>
              </a:tr>
              <a:tr h="429164">
                <a:tc>
                  <a:txBody>
                    <a:bodyPr/>
                    <a:lstStyle/>
                    <a:p>
                      <a:pPr marL="115570" indent="-90170"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Thermal screening</a:t>
                      </a:r>
                      <a:endParaRPr lang="sv-SE" sz="1200" b="1" dirty="0"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115570" indent="-90170"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 </a:t>
                      </a:r>
                      <a:r>
                        <a:rPr lang="en-US" sz="1000" b="1" dirty="0">
                          <a:effectLst/>
                        </a:rPr>
                        <a:t>Handled by GH &amp; airline. Swedavia assigns a designated area upon request.</a:t>
                      </a:r>
                      <a:endParaRPr lang="sv-SE" sz="1000" b="1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2180585"/>
                  </a:ext>
                </a:extLst>
              </a:tr>
            </a:tbl>
          </a:graphicData>
        </a:graphic>
      </p:graphicFrame>
      <p:sp>
        <p:nvSpPr>
          <p:cNvPr id="10" name="textruta 9">
            <a:extLst>
              <a:ext uri="{FF2B5EF4-FFF2-40B4-BE49-F238E27FC236}">
                <a16:creationId xmlns:a16="http://schemas.microsoft.com/office/drawing/2014/main" id="{8CCA723C-129E-4998-A6B0-60045AC0D7A3}"/>
              </a:ext>
            </a:extLst>
          </p:cNvPr>
          <p:cNvSpPr txBox="1"/>
          <p:nvPr/>
        </p:nvSpPr>
        <p:spPr>
          <a:xfrm>
            <a:off x="636588" y="6400800"/>
            <a:ext cx="962321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900" i="1" dirty="0"/>
              <a:t>* </a:t>
            </a:r>
            <a:r>
              <a:rPr lang="en-US" sz="900" i="1" u="sng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VID-19 Aviation Health Safety Protocol</a:t>
            </a:r>
            <a:endParaRPr lang="en-US" sz="900" i="1" u="sng" dirty="0"/>
          </a:p>
          <a:p>
            <a:r>
              <a:rPr lang="sv-SE" sz="900" i="1" dirty="0"/>
              <a:t> </a:t>
            </a:r>
            <a:r>
              <a:rPr lang="sv-SE" sz="900" i="1" dirty="0">
                <a:hlinkClick r:id="rId8"/>
              </a:rPr>
              <a:t>https://www.easa.europa.eu/sites/default/files/dfu/EASA-ECDC_COVID-19_Operational%20guidelines%20for%20management%20of%20passengers_final.pdf</a:t>
            </a:r>
            <a:endParaRPr lang="sv-SE" sz="600" i="1" dirty="0"/>
          </a:p>
          <a:p>
            <a:endParaRPr lang="sv-SE" sz="900" i="1" dirty="0"/>
          </a:p>
        </p:txBody>
      </p:sp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E9CB71F3-BAB9-4CBD-8787-39121C5789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1979813"/>
              </p:ext>
            </p:extLst>
          </p:nvPr>
        </p:nvGraphicFramePr>
        <p:xfrm>
          <a:off x="8199120" y="2989582"/>
          <a:ext cx="2529840" cy="13845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29840">
                  <a:extLst>
                    <a:ext uri="{9D8B030D-6E8A-4147-A177-3AD203B41FA5}">
                      <a16:colId xmlns:a16="http://schemas.microsoft.com/office/drawing/2014/main" val="2786998438"/>
                    </a:ext>
                  </a:extLst>
                </a:gridCol>
              </a:tblGrid>
              <a:tr h="5765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noProof="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Current standard procedure July 2020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7960271"/>
                  </a:ext>
                </a:extLst>
              </a:tr>
              <a:tr h="4039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noProof="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Possible if requested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799213"/>
                  </a:ext>
                </a:extLst>
              </a:tr>
              <a:tr h="4039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Non compliant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189866"/>
                  </a:ext>
                </a:extLst>
              </a:tr>
            </a:tbl>
          </a:graphicData>
        </a:graphic>
      </p:graphicFrame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9CC87FC-AC8E-4F16-A416-D7EA884CE1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45794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6682760-47DD-41BA-8AE6-342CEEAF6B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6682760-47DD-41BA-8AE6-342CEEAF6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8B8420E2-280A-467D-8A22-10D1F567A3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 31">
            <a:extLst>
              <a:ext uri="{FF2B5EF4-FFF2-40B4-BE49-F238E27FC236}">
                <a16:creationId xmlns:a16="http://schemas.microsoft.com/office/drawing/2014/main" id="{840E6221-52CC-41F1-9805-FEFEE3AD23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222" y="1830432"/>
            <a:ext cx="5154792" cy="47868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sv-SE" sz="1200" dirty="0"/>
              <a:t>Swedavia is following the guidelines of the Swedish Public Health Agency:</a:t>
            </a:r>
          </a:p>
          <a:p>
            <a:pPr marL="639763" lvl="3" indent="-182563">
              <a:buFont typeface="Arial" panose="020B0604020202020204" pitchFamily="34" charset="0"/>
              <a:buChar char="•"/>
            </a:pPr>
            <a:r>
              <a:rPr lang="sv-SE" sz="1100" dirty="0"/>
              <a:t>Always stay home if you feel unwell</a:t>
            </a:r>
          </a:p>
          <a:p>
            <a:pPr marL="639763" lvl="3" indent="-182563">
              <a:buFont typeface="Arial" panose="020B0604020202020204" pitchFamily="34" charset="0"/>
              <a:buChar char="•"/>
            </a:pPr>
            <a:r>
              <a:rPr lang="sv-SE" sz="1100" dirty="0"/>
              <a:t>Ensure good hand hygiene and respiratory etiquette </a:t>
            </a:r>
            <a:br>
              <a:rPr lang="sv-SE" sz="1100" dirty="0"/>
            </a:br>
            <a:r>
              <a:rPr lang="sv-SE" sz="1100" dirty="0"/>
              <a:t>(cough into your elbow) </a:t>
            </a:r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19076" algn="l"/>
                <a:tab pos="430530" algn="l"/>
              </a:tabLst>
            </a:pPr>
            <a:r>
              <a:rPr lang="en-US" sz="1200" dirty="0">
                <a:cs typeface="Arial"/>
              </a:rPr>
              <a:t>The Swedish state has taken away the unpaid first day of absence due to illness, this to prevent employees from going to work when they are sick.</a:t>
            </a:r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219076" algn="l"/>
                <a:tab pos="430530" algn="l"/>
              </a:tabLst>
            </a:pPr>
            <a:r>
              <a:rPr lang="sv-SE" sz="1200" dirty="0"/>
              <a:t>Swedavia has guidelines for social distance in place: </a:t>
            </a:r>
          </a:p>
          <a:p>
            <a:pPr marL="639763" lvl="3" indent="-182563">
              <a:buFont typeface="Arial" panose="020B0604020202020204" pitchFamily="34" charset="0"/>
              <a:buChar char="•"/>
            </a:pPr>
            <a:r>
              <a:rPr lang="sv-SE" sz="1100" dirty="0"/>
              <a:t>A policy for working at home</a:t>
            </a:r>
          </a:p>
          <a:p>
            <a:pPr marL="639763" lvl="3" indent="-182563">
              <a:buFont typeface="Arial" panose="020B0604020202020204" pitchFamily="34" charset="0"/>
              <a:buChar char="•"/>
            </a:pPr>
            <a:r>
              <a:rPr lang="sv-SE" sz="1100" dirty="0"/>
              <a:t>Posters in lunch rooms and meeting rooms encouraging infection control measure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sv-SE" sz="1200" dirty="0"/>
              <a:t>A complete consequence and risk assessment of every part of our operation has been performed </a:t>
            </a:r>
            <a:r>
              <a:rPr lang="en-US" sz="1200" dirty="0"/>
              <a:t>for all Swedavia Airports with the help of </a:t>
            </a:r>
            <a:r>
              <a:rPr lang="sv-SE" sz="1200" dirty="0"/>
              <a:t>the </a:t>
            </a:r>
            <a:r>
              <a:rPr lang="en-US" sz="1200" dirty="0"/>
              <a:t>Stockholm County Infection Control Unit.</a:t>
            </a:r>
            <a:endParaRPr lang="sv-SE" sz="1200" dirty="0"/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sv-SE" sz="1200" dirty="0"/>
              <a:t>In </a:t>
            </a:r>
            <a:r>
              <a:rPr lang="en-GB" sz="1200" dirty="0"/>
              <a:t>mandatory passenger flows – security checkpoints, PRM (passengers with restricted mobility) and other airport services that have close contact with passengers – our employees will wear face masks.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1200" dirty="0"/>
              <a:t>Swedavia is producing an internal handbook for all infection control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1200" dirty="0"/>
              <a:t>procedures and the use of PPE (Personal Protection Equipment).</a:t>
            </a:r>
            <a:endParaRPr lang="sv-SE" sz="1200" dirty="0"/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sv-SE" sz="1200" dirty="0"/>
              <a:t>Swedavia is performing risk assessments after every new change in routines. 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sv-SE" sz="1200" dirty="0"/>
              <a:t>Enforcing social distancing in critical parts of our operations to minimise infection and secure airport operations.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sv-SE" sz="1200" dirty="0"/>
              <a:t>Policy published on how to uphold social distancing in staff areas. </a:t>
            </a:r>
          </a:p>
        </p:txBody>
      </p:sp>
      <p:pic>
        <p:nvPicPr>
          <p:cNvPr id="11" name="Platshållare för bild 6">
            <a:extLst>
              <a:ext uri="{FF2B5EF4-FFF2-40B4-BE49-F238E27FC236}">
                <a16:creationId xmlns:a16="http://schemas.microsoft.com/office/drawing/2014/main" id="{D848DCE9-F964-4D47-AF1D-9E4BFB103B3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71355" y="2122488"/>
            <a:ext cx="4599045" cy="3811462"/>
          </a:xfrm>
          <a:prstGeom prst="rect">
            <a:avLst/>
          </a:prstGeom>
          <a:ln>
            <a:noFill/>
          </a:ln>
        </p:spPr>
      </p:pic>
      <p:pic>
        <p:nvPicPr>
          <p:cNvPr id="12" name="Platshållare för bild 1">
            <a:extLst>
              <a:ext uri="{FF2B5EF4-FFF2-40B4-BE49-F238E27FC236}">
                <a16:creationId xmlns:a16="http://schemas.microsoft.com/office/drawing/2014/main" id="{C736E0D8-7CD2-4EB8-871A-26CB6BE8CC86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72" r="13372"/>
          <a:stretch>
            <a:fillRect/>
          </a:stretch>
        </p:blipFill>
        <p:spPr bwMode="ltGray">
          <a:xfrm>
            <a:off x="6356246" y="2134736"/>
            <a:ext cx="1859915" cy="1541406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14" name="Rubrik 2">
            <a:extLst>
              <a:ext uri="{FF2B5EF4-FFF2-40B4-BE49-F238E27FC236}">
                <a16:creationId xmlns:a16="http://schemas.microsoft.com/office/drawing/2014/main" id="{6B4E22AE-B5C6-4519-AE78-7AEC60770EE3}"/>
              </a:ext>
            </a:extLst>
          </p:cNvPr>
          <p:cNvSpPr txBox="1">
            <a:spLocks/>
          </p:cNvSpPr>
          <p:nvPr/>
        </p:nvSpPr>
        <p:spPr>
          <a:xfrm>
            <a:off x="636589" y="868243"/>
            <a:ext cx="10933811" cy="60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bg2">
                    <a:lumMod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/>
              <a:t>Swedavia employees</a:t>
            </a:r>
            <a:br>
              <a:rPr lang="sv-SE" sz="2400" dirty="0"/>
            </a:br>
            <a:r>
              <a:rPr lang="sv-SE" sz="1600" dirty="0"/>
              <a:t>– </a:t>
            </a:r>
            <a:r>
              <a:rPr lang="en-US" sz="1600" dirty="0"/>
              <a:t>relevant protective measures are taken to protect others and each other</a:t>
            </a:r>
            <a:endParaRPr lang="sv-SE" sz="1600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B8DD7B7-8C14-4BA4-AF24-B22A5D302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82240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A083FAC-8640-41F8-9A9D-CB310F14F8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76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A083FAC-8640-41F8-9A9D-CB310F14F8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ubrik 15">
            <a:extLst>
              <a:ext uri="{FF2B5EF4-FFF2-40B4-BE49-F238E27FC236}">
                <a16:creationId xmlns:a16="http://schemas.microsoft.com/office/drawing/2014/main" id="{33E4A28B-4155-4D4A-9838-C5F71B64E358}"/>
              </a:ext>
            </a:extLst>
          </p:cNvPr>
          <p:cNvSpPr txBox="1">
            <a:spLocks/>
          </p:cNvSpPr>
          <p:nvPr/>
        </p:nvSpPr>
        <p:spPr>
          <a:xfrm>
            <a:off x="119196" y="5458198"/>
            <a:ext cx="5976804" cy="13005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4400" dirty="0">
                <a:solidFill>
                  <a:schemeClr val="bg1"/>
                </a:solidFill>
              </a:rPr>
              <a:t>Passenger process</a:t>
            </a:r>
            <a:endParaRPr lang="sv-SE" sz="3600" dirty="0">
              <a:solidFill>
                <a:schemeClr val="bg1"/>
              </a:solidFill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97957B5B-4F81-49E8-B659-744DB19DAC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2195" y="1074918"/>
            <a:ext cx="9016284" cy="5589832"/>
          </a:xfrm>
          <a:prstGeom prst="rect">
            <a:avLst/>
          </a:prstGeom>
        </p:spPr>
      </p:pic>
      <p:sp>
        <p:nvSpPr>
          <p:cNvPr id="15" name="Rubrik 15">
            <a:extLst>
              <a:ext uri="{FF2B5EF4-FFF2-40B4-BE49-F238E27FC236}">
                <a16:creationId xmlns:a16="http://schemas.microsoft.com/office/drawing/2014/main" id="{DAE56166-1F8C-4168-B30C-49EBBB460A75}"/>
              </a:ext>
            </a:extLst>
          </p:cNvPr>
          <p:cNvSpPr txBox="1">
            <a:spLocks/>
          </p:cNvSpPr>
          <p:nvPr/>
        </p:nvSpPr>
        <p:spPr>
          <a:xfrm>
            <a:off x="1562195" y="521019"/>
            <a:ext cx="9174937" cy="13005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/>
              <a:t>Passenger Process</a:t>
            </a:r>
          </a:p>
          <a:p>
            <a:endParaRPr lang="sv-SE" i="1" dirty="0"/>
          </a:p>
        </p:txBody>
      </p:sp>
      <p:sp>
        <p:nvSpPr>
          <p:cNvPr id="16" name="Platshållare för bildnummer 15">
            <a:extLst>
              <a:ext uri="{FF2B5EF4-FFF2-40B4-BE49-F238E27FC236}">
                <a16:creationId xmlns:a16="http://schemas.microsoft.com/office/drawing/2014/main" id="{42A2C93F-1370-4C37-B35B-5A97B6D10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4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50694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F676903-04E1-4A67-BC70-DA4253AA2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588" y="875264"/>
            <a:ext cx="6975174" cy="601200"/>
          </a:xfrm>
        </p:spPr>
        <p:txBody>
          <a:bodyPr/>
          <a:lstStyle/>
          <a:p>
            <a:r>
              <a:rPr lang="sv-SE" dirty="0"/>
              <a:t>General Communication</a:t>
            </a:r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980D69B-DF7D-4E40-8706-CDA4E4401FC0}"/>
              </a:ext>
            </a:extLst>
          </p:cNvPr>
          <p:cNvSpPr txBox="1">
            <a:spLocks/>
          </p:cNvSpPr>
          <p:nvPr/>
        </p:nvSpPr>
        <p:spPr>
          <a:xfrm>
            <a:off x="636588" y="1555976"/>
            <a:ext cx="4192084" cy="4464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Tx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8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SzPct val="50000"/>
              <a:buFontTx/>
              <a:buBlip>
                <a:blip r:embed="rId2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2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216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1160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SzPct val="50000"/>
              <a:buFontTx/>
              <a:buBlip>
                <a:blip r:embed="rId2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>
              <a:buFont typeface="Arial" panose="020B0604020202020204" pitchFamily="34" charset="0"/>
              <a:buChar char="•"/>
            </a:pPr>
            <a:r>
              <a:rPr lang="en-GB" sz="1800" dirty="0"/>
              <a:t>The health and safety measures in place will be clearly communicated to our travellers and airport staff.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GB" sz="1800" dirty="0"/>
              <a:t>Passengers are encouraged </a:t>
            </a:r>
            <a:br>
              <a:rPr lang="en-GB" sz="1800" dirty="0"/>
            </a:br>
            <a:r>
              <a:rPr lang="en-GB" sz="1800" dirty="0"/>
              <a:t>via social media to check-in at home or by using Self service at the airport. 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GB" sz="1800" dirty="0"/>
              <a:t>Yellow signs and floor stickers throughout the airport emphasise the need to maintain social distance.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GB" sz="1800" dirty="0"/>
              <a:t>Frequent announcements about social distancing in the terminal and use of face mask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1800" dirty="0"/>
              <a:t>Swedavia encourages </a:t>
            </a:r>
            <a:r>
              <a:rPr lang="en-US" sz="1800" dirty="0" err="1"/>
              <a:t>meeters</a:t>
            </a:r>
            <a:r>
              <a:rPr lang="en-US" sz="1800" dirty="0"/>
              <a:t> and greeters to wait outside the terminal to minimize the risk of crowding inside the terminal.</a:t>
            </a:r>
            <a:endParaRPr lang="en-GB" sz="1800" dirty="0">
              <a:highlight>
                <a:srgbClr val="FFFF00"/>
              </a:highlight>
            </a:endParaRPr>
          </a:p>
        </p:txBody>
      </p:sp>
      <p:pic>
        <p:nvPicPr>
          <p:cNvPr id="15" name="Bildobjekt 14" descr="En bild som visar tecken, byggnad, svart, gata&#10;&#10;Automatiskt genererad beskrivning">
            <a:extLst>
              <a:ext uri="{FF2B5EF4-FFF2-40B4-BE49-F238E27FC236}">
                <a16:creationId xmlns:a16="http://schemas.microsoft.com/office/drawing/2014/main" id="{88DB6F40-38AE-492B-BA1D-34670FAE56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91" y="427196"/>
            <a:ext cx="5066215" cy="6291617"/>
          </a:xfrm>
          <a:prstGeom prst="rect">
            <a:avLst/>
          </a:prstGeom>
        </p:spPr>
      </p:pic>
      <p:sp>
        <p:nvSpPr>
          <p:cNvPr id="20" name="Platshållare för bildnummer 19">
            <a:extLst>
              <a:ext uri="{FF2B5EF4-FFF2-40B4-BE49-F238E27FC236}">
                <a16:creationId xmlns:a16="http://schemas.microsoft.com/office/drawing/2014/main" id="{85C69AE7-8E75-4D2A-9BA7-1E1D08B2C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5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554647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CC7C276-04CF-43D3-B13C-68D4EFD39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379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CC7C276-04CF-43D3-B13C-68D4EFD39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66E49C1F-A962-44EF-96D1-B351F6CD73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25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06E9BC4-482F-40EE-BECB-AC2FB5E7C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80" y="1157043"/>
            <a:ext cx="5458738" cy="601200"/>
          </a:xfrm>
        </p:spPr>
        <p:txBody>
          <a:bodyPr/>
          <a:lstStyle/>
          <a:p>
            <a:r>
              <a:rPr lang="sv-SE" dirty="0"/>
              <a:t>Face masks for passengers</a:t>
            </a:r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B9F316DE-5424-441C-A709-46CC15A6DFF2}"/>
              </a:ext>
            </a:extLst>
          </p:cNvPr>
          <p:cNvSpPr txBox="1">
            <a:spLocks/>
          </p:cNvSpPr>
          <p:nvPr/>
        </p:nvSpPr>
        <p:spPr>
          <a:xfrm>
            <a:off x="625780" y="2122488"/>
            <a:ext cx="4192084" cy="4464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Tx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08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SzPct val="50000"/>
              <a:buFontTx/>
              <a:buBlip>
                <a:blip r:embed="rId7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912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SzPct val="75000"/>
              <a:buFont typeface="Wingdings" panose="05000000000000000000" pitchFamily="2" charset="2"/>
              <a:buChar char="§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216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116000" indent="-14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SzPct val="50000"/>
              <a:buFontTx/>
              <a:buBlip>
                <a:blip r:embed="rId7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>
              <a:buFont typeface="Arial" panose="020B0604020202020204" pitchFamily="34" charset="0"/>
              <a:buChar char="•"/>
            </a:pPr>
            <a:r>
              <a:rPr lang="en-GB" sz="1600" dirty="0"/>
              <a:t>Swedavia encourage passengers to use face masks at Göteborg Landvetter Airport.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GB" sz="1600" dirty="0"/>
              <a:t>Some airlines have implemented mandatory use of face masks to be able to board the aircraft, please see general guidelines for each airline.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GB" sz="1600" dirty="0"/>
              <a:t>Passengers will be able to purchase face mask at Göteborg Landvetter Airport, both before and after passing the security checkpoint in selected shops.</a:t>
            </a:r>
            <a:endParaRPr lang="en-GB" sz="1600" dirty="0">
              <a:highlight>
                <a:srgbClr val="FFFF00"/>
              </a:highlight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pic>
        <p:nvPicPr>
          <p:cNvPr id="14343" name="Picture 7" descr="empty middle seat, passenger wearing mask">
            <a:extLst>
              <a:ext uri="{FF2B5EF4-FFF2-40B4-BE49-F238E27FC236}">
                <a16:creationId xmlns:a16="http://schemas.microsoft.com/office/drawing/2014/main" id="{A9B27DC1-B3A8-4D27-A152-FE82B295086B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9" r="16689"/>
          <a:stretch>
            <a:fillRect/>
          </a:stretch>
        </p:blipFill>
        <p:spPr bwMode="auto">
          <a:xfrm>
            <a:off x="6678349" y="2122488"/>
            <a:ext cx="2813974" cy="2813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183AD6F5-B821-4686-BF8A-C2BA8C9D6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6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482562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E1944E00-D130-45EC-BFD7-17610291EE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08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E1944E00-D130-45EC-BFD7-17610291E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ktangel 38" hidden="1">
            <a:extLst>
              <a:ext uri="{FF2B5EF4-FFF2-40B4-BE49-F238E27FC236}">
                <a16:creationId xmlns:a16="http://schemas.microsoft.com/office/drawing/2014/main" id="{BC06C12D-FF09-4C28-B5F9-443C918EEE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1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5C92E44A-1452-4E23-8AB9-E5F5421D6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588" y="816151"/>
            <a:ext cx="9468295" cy="601200"/>
          </a:xfrm>
        </p:spPr>
        <p:txBody>
          <a:bodyPr/>
          <a:lstStyle/>
          <a:p>
            <a:r>
              <a:rPr lang="sv-SE" dirty="0"/>
              <a:t>Safe passenger flows </a:t>
            </a:r>
            <a:br>
              <a:rPr lang="sv-SE" dirty="0"/>
            </a:br>
            <a:r>
              <a:rPr lang="sv-SE" sz="1600" dirty="0"/>
              <a:t>– from landside to the aircraft and back </a:t>
            </a:r>
          </a:p>
        </p:txBody>
      </p:sp>
      <p:grpSp>
        <p:nvGrpSpPr>
          <p:cNvPr id="9" name="Group 21">
            <a:extLst>
              <a:ext uri="{FF2B5EF4-FFF2-40B4-BE49-F238E27FC236}">
                <a16:creationId xmlns:a16="http://schemas.microsoft.com/office/drawing/2014/main" id="{EB61DA91-937B-481B-94F6-F70D444900BE}"/>
              </a:ext>
            </a:extLst>
          </p:cNvPr>
          <p:cNvGrpSpPr>
            <a:grpSpLocks/>
          </p:cNvGrpSpPr>
          <p:nvPr/>
        </p:nvGrpSpPr>
        <p:grpSpPr bwMode="auto">
          <a:xfrm>
            <a:off x="2430195" y="2035745"/>
            <a:ext cx="1684237" cy="396875"/>
            <a:chOff x="317" y="740"/>
            <a:chExt cx="2358" cy="250"/>
          </a:xfrm>
        </p:grpSpPr>
        <p:sp>
          <p:nvSpPr>
            <p:cNvPr id="10" name="Line 22">
              <a:extLst>
                <a:ext uri="{FF2B5EF4-FFF2-40B4-BE49-F238E27FC236}">
                  <a16:creationId xmlns:a16="http://schemas.microsoft.com/office/drawing/2014/main" id="{29256DC9-9C99-420E-A500-C3D4233439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sv-SE" b="1" dirty="0"/>
            </a:p>
          </p:txBody>
        </p:sp>
        <p:sp>
          <p:nvSpPr>
            <p:cNvPr id="11" name="Text Box 23">
              <a:extLst>
                <a:ext uri="{FF2B5EF4-FFF2-40B4-BE49-F238E27FC236}">
                  <a16:creationId xmlns:a16="http://schemas.microsoft.com/office/drawing/2014/main" id="{49B48F52-B8FE-4285-BF77-F2F9C7B478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40"/>
              <a:ext cx="2358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algn="ctr"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Check-in</a:t>
              </a:r>
            </a:p>
          </p:txBody>
        </p:sp>
      </p:grpSp>
      <p:grpSp>
        <p:nvGrpSpPr>
          <p:cNvPr id="14" name="Group 21">
            <a:extLst>
              <a:ext uri="{FF2B5EF4-FFF2-40B4-BE49-F238E27FC236}">
                <a16:creationId xmlns:a16="http://schemas.microsoft.com/office/drawing/2014/main" id="{67B6B1C4-A545-4934-B877-D2D4F4E72B23}"/>
              </a:ext>
            </a:extLst>
          </p:cNvPr>
          <p:cNvGrpSpPr>
            <a:grpSpLocks/>
          </p:cNvGrpSpPr>
          <p:nvPr/>
        </p:nvGrpSpPr>
        <p:grpSpPr bwMode="auto">
          <a:xfrm>
            <a:off x="6074959" y="2004142"/>
            <a:ext cx="1627545" cy="406400"/>
            <a:chOff x="317" y="726"/>
            <a:chExt cx="2358" cy="256"/>
          </a:xfrm>
        </p:grpSpPr>
        <p:sp>
          <p:nvSpPr>
            <p:cNvPr id="15" name="Line 22">
              <a:extLst>
                <a:ext uri="{FF2B5EF4-FFF2-40B4-BE49-F238E27FC236}">
                  <a16:creationId xmlns:a16="http://schemas.microsoft.com/office/drawing/2014/main" id="{20B1AB27-0641-4128-9236-7088040EC4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sv-SE" sz="2000" b="1" dirty="0"/>
            </a:p>
          </p:txBody>
        </p:sp>
        <p:sp>
          <p:nvSpPr>
            <p:cNvPr id="16" name="Text Box 23">
              <a:extLst>
                <a:ext uri="{FF2B5EF4-FFF2-40B4-BE49-F238E27FC236}">
                  <a16:creationId xmlns:a16="http://schemas.microsoft.com/office/drawing/2014/main" id="{FB15A45C-A68C-4FC9-9AA4-21DC5F3BA6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26"/>
              <a:ext cx="2358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algn="ctr"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Boarding</a:t>
              </a:r>
            </a:p>
          </p:txBody>
        </p:sp>
      </p:grpSp>
      <p:sp>
        <p:nvSpPr>
          <p:cNvPr id="17" name="Rectangle 31">
            <a:extLst>
              <a:ext uri="{FF2B5EF4-FFF2-40B4-BE49-F238E27FC236}">
                <a16:creationId xmlns:a16="http://schemas.microsoft.com/office/drawing/2014/main" id="{A90E9891-9909-4A74-BF9C-D04D669236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4149" y="2462929"/>
            <a:ext cx="1609757" cy="4061696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/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sz="1000" dirty="0"/>
              <a:t>Protective </a:t>
            </a:r>
            <a:r>
              <a:rPr lang="sv-SE" sz="1000" dirty="0" err="1"/>
              <a:t>sheilds</a:t>
            </a:r>
            <a:r>
              <a:rPr lang="sv-SE" sz="1000" dirty="0"/>
              <a:t> </a:t>
            </a:r>
            <a:r>
              <a:rPr lang="sv-SE" sz="1000" dirty="0" err="1"/>
              <a:t>are</a:t>
            </a:r>
            <a:r>
              <a:rPr lang="sv-SE" sz="1000" dirty="0"/>
              <a:t> </a:t>
            </a:r>
            <a:r>
              <a:rPr lang="sv-SE" sz="1000" dirty="0" err="1"/>
              <a:t>installed</a:t>
            </a:r>
            <a:r>
              <a:rPr lang="sv-SE" sz="1000" dirty="0"/>
              <a:t> in boarding counters.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sz="1000" dirty="0"/>
              <a:t>Yellow signs continue with floor markings in queueing zones.</a:t>
            </a:r>
            <a:endParaRPr lang="sv-SE" sz="1000" dirty="0"/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altLang="en-US" sz="1000" dirty="0">
                <a:cs typeface="Arial"/>
              </a:rPr>
              <a:t>Self Boarding gates are being used. 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GB" altLang="en-US" sz="1000" dirty="0">
                <a:cs typeface="Arial"/>
              </a:rPr>
              <a:t>When allocating aircraft, social distancing will be taken into consideration whenever possible.</a:t>
            </a:r>
            <a:endParaRPr lang="en-GB" sz="1000" dirty="0"/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sz="1000" dirty="0"/>
              <a:t>If airlines or handling agents want to include temperature screening as a measure in their procedures, this will be possible upon request to Swedavia. A specific area will be allocated in the passenger flow.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sz="1000" dirty="0"/>
              <a:t>The airport provides  hand sanitizer at the gate.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100" dirty="0">
              <a:latin typeface="Arial" charset="0"/>
              <a:cs typeface="Arial" charset="0"/>
            </a:endParaRPr>
          </a:p>
        </p:txBody>
      </p:sp>
      <p:grpSp>
        <p:nvGrpSpPr>
          <p:cNvPr id="18" name="Group 21">
            <a:extLst>
              <a:ext uri="{FF2B5EF4-FFF2-40B4-BE49-F238E27FC236}">
                <a16:creationId xmlns:a16="http://schemas.microsoft.com/office/drawing/2014/main" id="{ABF4CC4A-4FCD-4702-B31B-A0F504CEC919}"/>
              </a:ext>
            </a:extLst>
          </p:cNvPr>
          <p:cNvGrpSpPr>
            <a:grpSpLocks/>
          </p:cNvGrpSpPr>
          <p:nvPr/>
        </p:nvGrpSpPr>
        <p:grpSpPr bwMode="auto">
          <a:xfrm>
            <a:off x="4275968" y="2026369"/>
            <a:ext cx="1594507" cy="396875"/>
            <a:chOff x="317" y="740"/>
            <a:chExt cx="2358" cy="250"/>
          </a:xfrm>
        </p:grpSpPr>
        <p:sp>
          <p:nvSpPr>
            <p:cNvPr id="19" name="Line 22">
              <a:extLst>
                <a:ext uri="{FF2B5EF4-FFF2-40B4-BE49-F238E27FC236}">
                  <a16:creationId xmlns:a16="http://schemas.microsoft.com/office/drawing/2014/main" id="{5F9ACE2F-F95E-438F-850C-9C417AB6E5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sv-SE" b="1" dirty="0"/>
            </a:p>
          </p:txBody>
        </p:sp>
        <p:sp>
          <p:nvSpPr>
            <p:cNvPr id="20" name="Text Box 23">
              <a:extLst>
                <a:ext uri="{FF2B5EF4-FFF2-40B4-BE49-F238E27FC236}">
                  <a16:creationId xmlns:a16="http://schemas.microsoft.com/office/drawing/2014/main" id="{3A3FA9DC-8866-494D-82D3-28F4B013B5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40"/>
              <a:ext cx="2358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algn="ctr"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Security control</a:t>
              </a:r>
            </a:p>
          </p:txBody>
        </p:sp>
      </p:grpSp>
      <p:sp>
        <p:nvSpPr>
          <p:cNvPr id="24" name="Rectangle 31">
            <a:extLst>
              <a:ext uri="{FF2B5EF4-FFF2-40B4-BE49-F238E27FC236}">
                <a16:creationId xmlns:a16="http://schemas.microsoft.com/office/drawing/2014/main" id="{67C10EC8-71F5-4CF0-A9C0-05EF35B33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5215" y="2462929"/>
            <a:ext cx="1609757" cy="4071275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/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sz="1000" dirty="0">
                <a:solidFill>
                  <a:srgbClr val="000000"/>
                </a:solidFill>
                <a:cs typeface="Arial"/>
              </a:rPr>
              <a:t>To allow for social distance, passengers are spread out on more buses and each bus takes fewer passengers than usual. 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sz="1000" dirty="0"/>
              <a:t>Protective area has been established to separate the driver from the passengers.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sz="1000" dirty="0"/>
              <a:t>Cleaning routines on board airport buses. 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sz="1000" dirty="0"/>
          </a:p>
        </p:txBody>
      </p:sp>
      <p:grpSp>
        <p:nvGrpSpPr>
          <p:cNvPr id="25" name="Group 21">
            <a:extLst>
              <a:ext uri="{FF2B5EF4-FFF2-40B4-BE49-F238E27FC236}">
                <a16:creationId xmlns:a16="http://schemas.microsoft.com/office/drawing/2014/main" id="{447CECB0-F22E-450E-AE74-CDF32FB1473C}"/>
              </a:ext>
            </a:extLst>
          </p:cNvPr>
          <p:cNvGrpSpPr>
            <a:grpSpLocks/>
          </p:cNvGrpSpPr>
          <p:nvPr/>
        </p:nvGrpSpPr>
        <p:grpSpPr bwMode="auto">
          <a:xfrm>
            <a:off x="9564288" y="2016784"/>
            <a:ext cx="1709353" cy="396875"/>
            <a:chOff x="317" y="740"/>
            <a:chExt cx="2466" cy="250"/>
          </a:xfrm>
        </p:grpSpPr>
        <p:sp>
          <p:nvSpPr>
            <p:cNvPr id="26" name="Line 22">
              <a:extLst>
                <a:ext uri="{FF2B5EF4-FFF2-40B4-BE49-F238E27FC236}">
                  <a16:creationId xmlns:a16="http://schemas.microsoft.com/office/drawing/2014/main" id="{7ACFB2CE-AA1E-4B48-B4E4-2744DC59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sv-SE" b="1" dirty="0"/>
            </a:p>
          </p:txBody>
        </p:sp>
        <p:sp>
          <p:nvSpPr>
            <p:cNvPr id="27" name="Text Box 23">
              <a:extLst>
                <a:ext uri="{FF2B5EF4-FFF2-40B4-BE49-F238E27FC236}">
                  <a16:creationId xmlns:a16="http://schemas.microsoft.com/office/drawing/2014/main" id="{E3DB80B2-8336-478A-891F-855F585AD9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40"/>
              <a:ext cx="2466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algn="ctr"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Arrivals</a:t>
              </a:r>
            </a:p>
          </p:txBody>
        </p:sp>
      </p:grpSp>
      <p:sp>
        <p:nvSpPr>
          <p:cNvPr id="28" name="Rectangle 31">
            <a:extLst>
              <a:ext uri="{FF2B5EF4-FFF2-40B4-BE49-F238E27FC236}">
                <a16:creationId xmlns:a16="http://schemas.microsoft.com/office/drawing/2014/main" id="{C19DB284-3158-407E-8243-230611A31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5034" y="2453344"/>
            <a:ext cx="1609757" cy="4080857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/>
          <a:p>
            <a:pPr marL="86995" indent="-86995" defTabSz="1347788">
              <a:spcBef>
                <a:spcPct val="20000"/>
              </a:spcBef>
              <a:buFont typeface="Arial,Sans-Serif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sz="1000" dirty="0"/>
              <a:t>Social distancing is encouraged with the help of Swedavia staff, digital and analogue signage and through announcements in the arrival hall. 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cs typeface="Arial"/>
              </a:rPr>
              <a:t>Allocation of baggage arrival belts will be carried out with regard to social distance and passenger volumes.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cs typeface="Arial"/>
              </a:rPr>
              <a:t>To minimize queues and gatherings at the  border control, more control positions will be open. 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latin typeface="Arial" charset="0"/>
                <a:cs typeface="Arial" charset="0"/>
              </a:rPr>
              <a:t>Customs control floor markings for </a:t>
            </a:r>
            <a:r>
              <a:rPr lang="en-US" altLang="en-US" sz="1000" dirty="0" err="1">
                <a:latin typeface="Arial" charset="0"/>
                <a:cs typeface="Arial" charset="0"/>
              </a:rPr>
              <a:t>queing</a:t>
            </a:r>
            <a:r>
              <a:rPr lang="en-US" altLang="en-US" sz="1000" dirty="0">
                <a:latin typeface="Arial" charset="0"/>
                <a:cs typeface="Arial" charset="0"/>
              </a:rPr>
              <a:t> distance</a:t>
            </a:r>
            <a:endParaRPr lang="sv-SE" altLang="en-US" sz="1000" dirty="0">
              <a:latin typeface="Arial" charset="0"/>
              <a:cs typeface="Arial" charset="0"/>
            </a:endParaRPr>
          </a:p>
        </p:txBody>
      </p:sp>
      <p:grpSp>
        <p:nvGrpSpPr>
          <p:cNvPr id="29" name="Group 21">
            <a:extLst>
              <a:ext uri="{FF2B5EF4-FFF2-40B4-BE49-F238E27FC236}">
                <a16:creationId xmlns:a16="http://schemas.microsoft.com/office/drawing/2014/main" id="{55207F17-2955-4162-A87E-FA84C5B16DB8}"/>
              </a:ext>
            </a:extLst>
          </p:cNvPr>
          <p:cNvGrpSpPr>
            <a:grpSpLocks/>
          </p:cNvGrpSpPr>
          <p:nvPr/>
        </p:nvGrpSpPr>
        <p:grpSpPr bwMode="auto">
          <a:xfrm>
            <a:off x="7846716" y="2016784"/>
            <a:ext cx="1664297" cy="396875"/>
            <a:chOff x="317" y="740"/>
            <a:chExt cx="2401" cy="250"/>
          </a:xfrm>
        </p:grpSpPr>
        <p:sp>
          <p:nvSpPr>
            <p:cNvPr id="30" name="Line 22">
              <a:extLst>
                <a:ext uri="{FF2B5EF4-FFF2-40B4-BE49-F238E27FC236}">
                  <a16:creationId xmlns:a16="http://schemas.microsoft.com/office/drawing/2014/main" id="{368B4C0D-90E3-4ED4-83F8-45255471C2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" y="982"/>
              <a:ext cx="2336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sv-SE" b="1" dirty="0"/>
            </a:p>
          </p:txBody>
        </p:sp>
        <p:sp>
          <p:nvSpPr>
            <p:cNvPr id="31" name="Text Box 23">
              <a:extLst>
                <a:ext uri="{FF2B5EF4-FFF2-40B4-BE49-F238E27FC236}">
                  <a16:creationId xmlns:a16="http://schemas.microsoft.com/office/drawing/2014/main" id="{A57237AF-BFD6-4516-81F2-A8C94B9AE3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7" y="740"/>
              <a:ext cx="2401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rIns="108000" anchor="b"/>
            <a:lstStyle/>
            <a:p>
              <a:pPr algn="ctr" eaLnBrk="0" hangingPunct="0">
                <a:spcBef>
                  <a:spcPct val="50000"/>
                </a:spcBef>
                <a:buClrTx/>
                <a:buFontTx/>
                <a:buNone/>
              </a:pPr>
              <a:r>
                <a:rPr lang="sv-SE" altLang="en-US" sz="1400" b="1" dirty="0"/>
                <a:t>Remote handling</a:t>
              </a:r>
            </a:p>
          </p:txBody>
        </p:sp>
      </p:grpSp>
      <p:pic>
        <p:nvPicPr>
          <p:cNvPr id="18438" name="Picture 6" descr="https://static.thenounproject.com/png/852649-200.png">
            <a:extLst>
              <a:ext uri="{FF2B5EF4-FFF2-40B4-BE49-F238E27FC236}">
                <a16:creationId xmlns:a16="http://schemas.microsoft.com/office/drawing/2014/main" id="{F4255FBC-A0A4-4607-B05B-3D95EDDC9B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736" y="1372541"/>
            <a:ext cx="734459" cy="73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31">
            <a:extLst>
              <a:ext uri="{FF2B5EF4-FFF2-40B4-BE49-F238E27FC236}">
                <a16:creationId xmlns:a16="http://schemas.microsoft.com/office/drawing/2014/main" id="{39DACFD7-3840-4D4E-9BC6-29A354795E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9904" y="2481792"/>
            <a:ext cx="1644030" cy="4052409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000" dirty="0"/>
              <a:t>Protective shields are installed in the check-in counters.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000" dirty="0"/>
              <a:t>Yellow signs continue with floor markings in queueing zones.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000" dirty="0"/>
              <a:t>Some Self Service Check-in units (CUSS) have been closed to increase the distance between passengers.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000" dirty="0"/>
              <a:t>If airlines or handling agents want to include temperature screening as a measure in their procedures, this will be possible upon request to Swedavia.</a:t>
            </a:r>
            <a:r>
              <a:rPr lang="en-US" sz="1000" dirty="0"/>
              <a:t> A specific area will be allocated in the passenger flow.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US" sz="1000" dirty="0"/>
              <a:t>The airport provides hand sanitizer at the check-in area.</a:t>
            </a:r>
            <a:endParaRPr lang="en-GB" sz="1000" dirty="0"/>
          </a:p>
        </p:txBody>
      </p:sp>
      <p:sp>
        <p:nvSpPr>
          <p:cNvPr id="41" name="Rectangle 31">
            <a:extLst>
              <a:ext uri="{FF2B5EF4-FFF2-40B4-BE49-F238E27FC236}">
                <a16:creationId xmlns:a16="http://schemas.microsoft.com/office/drawing/2014/main" id="{13C94442-5C71-4391-AC53-FF63E216C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0718" y="2472515"/>
            <a:ext cx="1609757" cy="4061693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F2FA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/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sz="1000" dirty="0"/>
              <a:t>Protective </a:t>
            </a:r>
            <a:r>
              <a:rPr lang="sv-SE" sz="1000" dirty="0" err="1"/>
              <a:t>sheilds</a:t>
            </a:r>
            <a:r>
              <a:rPr lang="sv-SE" sz="1000" dirty="0"/>
              <a:t> </a:t>
            </a:r>
            <a:r>
              <a:rPr lang="sv-SE" sz="1000" dirty="0" err="1"/>
              <a:t>are</a:t>
            </a:r>
            <a:r>
              <a:rPr lang="sv-SE" sz="1000" dirty="0"/>
              <a:t> </a:t>
            </a:r>
            <a:r>
              <a:rPr lang="sv-SE" sz="1000" dirty="0" err="1"/>
              <a:t>installed</a:t>
            </a:r>
            <a:r>
              <a:rPr lang="sv-SE" sz="1000" dirty="0"/>
              <a:t> at the security checkpoints.</a:t>
            </a:r>
            <a:endParaRPr lang="en-US" sz="1000" dirty="0"/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sz="1000" dirty="0"/>
              <a:t>Social distancing is encouraged with the help of security staff, signage and barriers.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cs typeface="Arial"/>
              </a:rPr>
              <a:t>Special and updated procedures for manual inspection have been introduced to reduce the risk of infection.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cs typeface="Arial"/>
              </a:rPr>
              <a:t>Protective gloves are worn for manual visitations.</a:t>
            </a:r>
          </a:p>
          <a:p>
            <a:pPr marL="86995" indent="-86995" defTabSz="134778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en-US" altLang="en-US" sz="1000" dirty="0">
                <a:cs typeface="Arial"/>
              </a:rPr>
              <a:t>The airport provides hand sanitizer at the security control.</a:t>
            </a:r>
          </a:p>
          <a:p>
            <a:pPr defTabSz="1347788">
              <a:spcBef>
                <a:spcPct val="20000"/>
              </a:spcBef>
              <a:tabLst>
                <a:tab pos="87313" algn="l"/>
                <a:tab pos="430213" algn="l"/>
              </a:tabLst>
            </a:pPr>
            <a:endParaRPr lang="sv-SE" altLang="en-US" sz="1000" dirty="0">
              <a:latin typeface="Arial"/>
              <a:cs typeface="Arial"/>
            </a:endParaRPr>
          </a:p>
        </p:txBody>
      </p:sp>
      <p:pic>
        <p:nvPicPr>
          <p:cNvPr id="17464" name="Picture 56" descr="suitcase scale Icon 1109777">
            <a:extLst>
              <a:ext uri="{FF2B5EF4-FFF2-40B4-BE49-F238E27FC236}">
                <a16:creationId xmlns:a16="http://schemas.microsoft.com/office/drawing/2014/main" id="{B6ECA6B7-3AA0-4E2E-B8DE-28F031C41B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2308" y="1372541"/>
            <a:ext cx="734459" cy="73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66" name="Picture 58" descr="detection Icon 2936987">
            <a:extLst>
              <a:ext uri="{FF2B5EF4-FFF2-40B4-BE49-F238E27FC236}">
                <a16:creationId xmlns:a16="http://schemas.microsoft.com/office/drawing/2014/main" id="{A38BA074-F591-45C2-A941-EFF0F2F88C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403" y="1372541"/>
            <a:ext cx="734459" cy="73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68" name="Picture 60" descr="airbridge Icon 2868127">
            <a:extLst>
              <a:ext uri="{FF2B5EF4-FFF2-40B4-BE49-F238E27FC236}">
                <a16:creationId xmlns:a16="http://schemas.microsoft.com/office/drawing/2014/main" id="{46FF900B-D76D-4DE7-A562-7B289B028E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041" y="1382119"/>
            <a:ext cx="734458" cy="734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70" name="Picture 62" descr="Airport Shuttle Icon 3147938">
            <a:extLst>
              <a:ext uri="{FF2B5EF4-FFF2-40B4-BE49-F238E27FC236}">
                <a16:creationId xmlns:a16="http://schemas.microsoft.com/office/drawing/2014/main" id="{46D0464F-532B-4AB7-915E-446E80DCDB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5284" y="1410717"/>
            <a:ext cx="667690" cy="66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D26A1B6E-4A0B-4512-BD24-FEAE919C8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5303-2AAE-45D1-913A-B06AE6474513}" type="slidenum">
              <a:rPr lang="sv-SE" smtClean="0"/>
              <a:t>7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93446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7586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CD0806C1-F46A-4735-8E7E-B90F4E4F3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25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1970" name="Rectangle 2"/>
          <p:cNvSpPr>
            <a:spLocks noGrp="1" noChangeArrowheads="1"/>
          </p:cNvSpPr>
          <p:nvPr>
            <p:ph type="title"/>
          </p:nvPr>
        </p:nvSpPr>
        <p:spPr>
          <a:xfrm>
            <a:off x="636588" y="932889"/>
            <a:ext cx="9665349" cy="602468"/>
          </a:xfrm>
        </p:spPr>
        <p:txBody>
          <a:bodyPr/>
          <a:lstStyle/>
          <a:p>
            <a:r>
              <a:rPr lang="sv-SE" dirty="0"/>
              <a:t>The PRM process is adjusted to reduce the risk of infection</a:t>
            </a:r>
            <a:endParaRPr lang="sv-SE" altLang="en-US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9620F4C4-4BE4-409A-91C8-1465EF5AE274}"/>
              </a:ext>
            </a:extLst>
          </p:cNvPr>
          <p:cNvSpPr txBox="1"/>
          <p:nvPr/>
        </p:nvSpPr>
        <p:spPr>
          <a:xfrm>
            <a:off x="636588" y="2103558"/>
            <a:ext cx="6545603" cy="3736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altLang="en-US" sz="1600" dirty="0"/>
              <a:t>When Covid 19 is suspected or confirmed, the assignment is handed over to the fire departement.</a:t>
            </a:r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600" dirty="0"/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sz="1600" dirty="0"/>
              <a:t>PRM attendants use face masks on all assignments. </a:t>
            </a:r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sz="1600" dirty="0"/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altLang="en-US" sz="1600" dirty="0"/>
              <a:t>PRM attendants use disposable gloves on assignments when required.</a:t>
            </a:r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600" dirty="0"/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altLang="en-US" sz="1600" dirty="0"/>
              <a:t>All wheelchairs are disinfected after every assignment.</a:t>
            </a:r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600" dirty="0"/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r>
              <a:rPr lang="sv-SE" altLang="en-US" sz="1600" dirty="0"/>
              <a:t>Hand sanitisers and gloves have been distributed to the wheelchair storage rooms. </a:t>
            </a:r>
          </a:p>
          <a:p>
            <a:pPr marL="182563" indent="-1825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87313" algn="l"/>
                <a:tab pos="430213" algn="l"/>
              </a:tabLst>
            </a:pPr>
            <a:endParaRPr lang="sv-SE" altLang="en-US" sz="1600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2CDC7133-6196-4C47-AA11-337B641D3B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61761" y="2103558"/>
            <a:ext cx="4578304" cy="3922309"/>
          </a:xfrm>
          <a:prstGeom prst="rect">
            <a:avLst/>
          </a:prstGeom>
        </p:spPr>
      </p:pic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7EAE488F-433F-46E0-9655-489F16DB9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D0347-586D-4658-B04E-1AB0D657410F}" type="slidenum">
              <a:rPr lang="sv-SE" smtClean="0"/>
              <a:pPr/>
              <a:t>8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206568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87038DB-2BA7-45D3-9969-E26ABF9126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774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87038DB-2BA7-45D3-9969-E26ABF9126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ubrik 15">
            <a:extLst>
              <a:ext uri="{FF2B5EF4-FFF2-40B4-BE49-F238E27FC236}">
                <a16:creationId xmlns:a16="http://schemas.microsoft.com/office/drawing/2014/main" id="{9B09BB71-48AD-41BD-B917-DB5DEB7A3FBC}"/>
              </a:ext>
            </a:extLst>
          </p:cNvPr>
          <p:cNvSpPr txBox="1">
            <a:spLocks/>
          </p:cNvSpPr>
          <p:nvPr/>
        </p:nvSpPr>
        <p:spPr>
          <a:xfrm>
            <a:off x="669049" y="1125575"/>
            <a:ext cx="5976804" cy="13005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>
                <a:solidFill>
                  <a:schemeClr val="tx1"/>
                </a:solidFill>
              </a:rPr>
              <a:t>Cleaning &amp; disinfection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11A4C42-A9D2-44FE-A8AD-376E37D17A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80818" y="542524"/>
            <a:ext cx="4305300" cy="6229350"/>
          </a:xfrm>
          <a:prstGeom prst="rect">
            <a:avLst/>
          </a:prstGeom>
        </p:spPr>
      </p:pic>
      <p:sp>
        <p:nvSpPr>
          <p:cNvPr id="11" name="Platshållare för bildnummer 10">
            <a:extLst>
              <a:ext uri="{FF2B5EF4-FFF2-40B4-BE49-F238E27FC236}">
                <a16:creationId xmlns:a16="http://schemas.microsoft.com/office/drawing/2014/main" id="{62DE2BEB-9152-4100-B155-4F1311E53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D0347-586D-4658-B04E-1AB0D657410F}" type="slidenum">
              <a:rPr lang="sv-SE" smtClean="0"/>
              <a:pPr/>
              <a:t>9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31134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.toMpzZPEgVMZHSObi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NOW8MSAkQ.ldcHp2BS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8jdPCTFzP2AJUewn.o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NOW8MSAkQ.ldcHp2BS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NOW8MSAkQ.ldcHp2BS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vAiAQY1nwPEzSB6SGu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nGfqSHOne9muFcJRxf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eKGskAuBQrJE5QmNjf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wedavia">
  <a:themeElements>
    <a:clrScheme name="Swedavia nya nu">
      <a:dk1>
        <a:sysClr val="windowText" lastClr="000000"/>
      </a:dk1>
      <a:lt1>
        <a:sysClr val="window" lastClr="FFFFFF"/>
      </a:lt1>
      <a:dk2>
        <a:srgbClr val="5B666E"/>
      </a:dk2>
      <a:lt2>
        <a:srgbClr val="DDE9F6"/>
      </a:lt2>
      <a:accent1>
        <a:srgbClr val="0F1A41"/>
      </a:accent1>
      <a:accent2>
        <a:srgbClr val="A4C7E2"/>
      </a:accent2>
      <a:accent3>
        <a:srgbClr val="659800"/>
      </a:accent3>
      <a:accent4>
        <a:srgbClr val="2D6E78"/>
      </a:accent4>
      <a:accent5>
        <a:srgbClr val="860022"/>
      </a:accent5>
      <a:accent6>
        <a:srgbClr val="FFC800"/>
      </a:accent6>
      <a:hlink>
        <a:srgbClr val="0563C1"/>
      </a:hlink>
      <a:folHlink>
        <a:srgbClr val="954F72"/>
      </a:folHlink>
    </a:clrScheme>
    <a:fontScheme name="Swedavia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Swedavia Trafikblå">
      <a:srgbClr val="0F1A41"/>
    </a:custClr>
    <a:custClr name="Swedavia Klarblå">
      <a:srgbClr val="009ADD"/>
    </a:custClr>
    <a:custClr name="Swedavia Mellanblå">
      <a:srgbClr val="A4C7E2"/>
    </a:custClr>
    <a:custClr name="Swedavia Ljusblå">
      <a:srgbClr val="DDE9F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wedavia Petrol">
      <a:srgbClr val="2D6E78"/>
    </a:custClr>
    <a:custClr name="Swedavia Grön (färgplattor)">
      <a:srgbClr val="659800"/>
    </a:custClr>
    <a:custClr name="Swedavia Grön (symbolen)">
      <a:srgbClr val="7AB800"/>
    </a:custClr>
    <a:custClr name="Swedavia Mörkare Mintgrön">
      <a:srgbClr val="C9DDD6"/>
    </a:custClr>
    <a:custClr name="Swedavia Mintgrön">
      <a:srgbClr val="DEF0E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wedavia Mörkgrå">
      <a:srgbClr val="5B666E"/>
    </a:custClr>
    <a:custClr name="Swedavia Mellangrå">
      <a:srgbClr val="878F94"/>
    </a:custClr>
    <a:custClr name="Swedavia Ljusare Mellangrå">
      <a:srgbClr val="D1D4D6"/>
    </a:custClr>
    <a:custClr name="Swedavia Ljusgrå">
      <a:srgbClr val="EBEBE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wedavia Mörkröd">
      <a:srgbClr val="860022"/>
    </a:custClr>
    <a:custClr name="Swedavia Orange">
      <a:srgbClr val="EB690B"/>
    </a:custClr>
    <a:custClr name="Swedavia Gul">
      <a:srgbClr val="FFC800"/>
    </a:custClr>
    <a:custClr name="Swedavia Svart">
      <a:srgbClr val="000000"/>
    </a:custClr>
    <a:custClr name="Swedavia Vit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PT mall NY 191218" id="{1D838DC7-9981-4FA5-9B29-5C9967BCB016}" vid="{FA15637B-53C1-48AC-9232-5FA357C65B46}"/>
    </a:ext>
  </a:extLst>
</a:theme>
</file>

<file path=ppt/theme/theme2.xml><?xml version="1.0" encoding="utf-8"?>
<a:theme xmlns:a="http://schemas.openxmlformats.org/drawingml/2006/main" name="Office-tema">
  <a:themeElements>
    <a:clrScheme name="Swedavia">
      <a:dk1>
        <a:sysClr val="windowText" lastClr="000000"/>
      </a:dk1>
      <a:lt1>
        <a:sysClr val="window" lastClr="FFFFFF"/>
      </a:lt1>
      <a:dk2>
        <a:srgbClr val="44546A"/>
      </a:dk2>
      <a:lt2>
        <a:srgbClr val="DDEFFC"/>
      </a:lt2>
      <a:accent1>
        <a:srgbClr val="1D203F"/>
      </a:accent1>
      <a:accent2>
        <a:srgbClr val="1198D5"/>
      </a:accent2>
      <a:accent3>
        <a:srgbClr val="79B729"/>
      </a:accent3>
      <a:accent4>
        <a:srgbClr val="2D6E78"/>
      </a:accent4>
      <a:accent5>
        <a:srgbClr val="861622"/>
      </a:accent5>
      <a:accent6>
        <a:srgbClr val="FFC800"/>
      </a:accent6>
      <a:hlink>
        <a:srgbClr val="0563C1"/>
      </a:hlink>
      <a:folHlink>
        <a:srgbClr val="954F72"/>
      </a:folHlink>
    </a:clrScheme>
    <a:fontScheme name="Swedavi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wedavia Trafikblå">
      <a:srgbClr val="0F1A41"/>
    </a:custClr>
    <a:custClr name="Swedavia Klarblå">
      <a:srgbClr val="009ADD"/>
    </a:custClr>
    <a:custClr name="Swedavia Mellanblå">
      <a:srgbClr val="A4C7E2"/>
    </a:custClr>
    <a:custClr name="Swedavia Ljusblå">
      <a:srgbClr val="DDE9F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wedavia Petrol">
      <a:srgbClr val="2D6E78"/>
    </a:custClr>
    <a:custClr name="Swedavia Grön (färgplattor)">
      <a:srgbClr val="659800"/>
    </a:custClr>
    <a:custClr name="Swedavia Grön (symbolen)">
      <a:srgbClr val="7AB800"/>
    </a:custClr>
    <a:custClr name="Swedavia Mörkare Mintgrön">
      <a:srgbClr val="C9DDD6"/>
    </a:custClr>
    <a:custClr name="Swedavia Mintgrön">
      <a:srgbClr val="DEF0E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wedavia Mörkgrå">
      <a:srgbClr val="5B666E"/>
    </a:custClr>
    <a:custClr name="Swedavia Mellangrå">
      <a:srgbClr val="878F94"/>
    </a:custClr>
    <a:custClr name="Swedavia Ljusare Mellangrå">
      <a:srgbClr val="D1D4D6"/>
    </a:custClr>
    <a:custClr name="Swedavia Ljusgrå">
      <a:srgbClr val="EBEBE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wedavia Mörkröd">
      <a:srgbClr val="860022"/>
    </a:custClr>
    <a:custClr name="Swedavia Orange">
      <a:srgbClr val="EB690B"/>
    </a:custClr>
    <a:custClr name="Swedavia Gul">
      <a:srgbClr val="FFC800"/>
    </a:custClr>
    <a:custClr name="Swedavia Svart">
      <a:srgbClr val="000000"/>
    </a:custClr>
    <a:custClr name="Swedavia Vit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Swedavia">
      <a:dk1>
        <a:sysClr val="windowText" lastClr="000000"/>
      </a:dk1>
      <a:lt1>
        <a:sysClr val="window" lastClr="FFFFFF"/>
      </a:lt1>
      <a:dk2>
        <a:srgbClr val="44546A"/>
      </a:dk2>
      <a:lt2>
        <a:srgbClr val="DDEFFC"/>
      </a:lt2>
      <a:accent1>
        <a:srgbClr val="1D203F"/>
      </a:accent1>
      <a:accent2>
        <a:srgbClr val="1198D5"/>
      </a:accent2>
      <a:accent3>
        <a:srgbClr val="79B729"/>
      </a:accent3>
      <a:accent4>
        <a:srgbClr val="2D6E78"/>
      </a:accent4>
      <a:accent5>
        <a:srgbClr val="861622"/>
      </a:accent5>
      <a:accent6>
        <a:srgbClr val="FFC800"/>
      </a:accent6>
      <a:hlink>
        <a:srgbClr val="0563C1"/>
      </a:hlink>
      <a:folHlink>
        <a:srgbClr val="954F72"/>
      </a:folHlink>
    </a:clrScheme>
    <a:fontScheme name="Swedavi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wedavia Trafikblå">
      <a:srgbClr val="0F1A41"/>
    </a:custClr>
    <a:custClr name="Swedavia Klarblå">
      <a:srgbClr val="009ADD"/>
    </a:custClr>
    <a:custClr name="Swedavia Mellanblå">
      <a:srgbClr val="A4C7E2"/>
    </a:custClr>
    <a:custClr name="Swedavia Ljusblå">
      <a:srgbClr val="DDE9F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wedavia Petrol">
      <a:srgbClr val="2D6E78"/>
    </a:custClr>
    <a:custClr name="Swedavia Grön (färgplattor)">
      <a:srgbClr val="659800"/>
    </a:custClr>
    <a:custClr name="Swedavia Grön (symbolen)">
      <a:srgbClr val="7AB800"/>
    </a:custClr>
    <a:custClr name="Swedavia Mörkare Mintgrön">
      <a:srgbClr val="C9DDD6"/>
    </a:custClr>
    <a:custClr name="Swedavia Mintgrön">
      <a:srgbClr val="DEF0E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wedavia Mörkgrå">
      <a:srgbClr val="5B666E"/>
    </a:custClr>
    <a:custClr name="Swedavia Mellangrå">
      <a:srgbClr val="878F94"/>
    </a:custClr>
    <a:custClr name="Swedavia Ljusare Mellangrå">
      <a:srgbClr val="D1D4D6"/>
    </a:custClr>
    <a:custClr name="Swedavia Ljusgrå">
      <a:srgbClr val="EBEBE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wedavia Mörkröd">
      <a:srgbClr val="860022"/>
    </a:custClr>
    <a:custClr name="Swedavia Orange">
      <a:srgbClr val="EB690B"/>
    </a:custClr>
    <a:custClr name="Swedavia Gul">
      <a:srgbClr val="FFC800"/>
    </a:custClr>
    <a:custClr name="Swedavia Svart">
      <a:srgbClr val="000000"/>
    </a:custClr>
    <a:custClr name="Swedavia Vit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1241A3CA2351844A7E4E0B31F1FB449" ma:contentTypeVersion="4" ma:contentTypeDescription="Skapa ett nytt dokument." ma:contentTypeScope="" ma:versionID="e205f2d6d87b3e3d8531d516f9fa22fc">
  <xsd:schema xmlns:xsd="http://www.w3.org/2001/XMLSchema" xmlns:xs="http://www.w3.org/2001/XMLSchema" xmlns:p="http://schemas.microsoft.com/office/2006/metadata/properties" xmlns:ns1="http://schemas.microsoft.com/sharepoint/v3" xmlns:ns2="3fca8fd9-914b-467f-8420-a34cf35f5e9c" xmlns:ns3="60588277-7eb8-46e1-8d8a-728c5372a59e" targetNamespace="http://schemas.microsoft.com/office/2006/metadata/properties" ma:root="true" ma:fieldsID="ca9173568eb13a0e3a10a235018e5156" ns1:_="" ns2:_="" ns3:_="">
    <xsd:import namespace="http://schemas.microsoft.com/sharepoint/v3"/>
    <xsd:import namespace="3fca8fd9-914b-467f-8420-a34cf35f5e9c"/>
    <xsd:import namespace="60588277-7eb8-46e1-8d8a-728c5372a59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3:Spr_x00e5_k" minOccurs="0"/>
                <xsd:element ref="ns3:Kategori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malagt startdatum" ma:description="Schemalagt startdatum är en webbplatskolumn som skapas via publiceringsfunktionen. Den används för att ange datum och tid för när sidan ska visas för besökare på webbplatsen för första gången." ma:hidden="true" ma:internalName="PublishingStartDate">
      <xsd:simpleType>
        <xsd:restriction base="dms:Unknown"/>
      </xsd:simpleType>
    </xsd:element>
    <xsd:element name="PublishingExpirationDate" ma:index="9" nillable="true" ma:displayName="Schemalagt slutdatum" ma:description="Schemalagt slutdatum är en webbplatskolumn som skapas via publiceringsfunktionen. Den används för att ange datum och tid för när sidan inte längre ska visas för besökare på webbplatsen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ca8fd9-914b-467f-8420-a34cf35f5e9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588277-7eb8-46e1-8d8a-728c5372a59e" elementFormDefault="qualified">
    <xsd:import namespace="http://schemas.microsoft.com/office/2006/documentManagement/types"/>
    <xsd:import namespace="http://schemas.microsoft.com/office/infopath/2007/PartnerControls"/>
    <xsd:element name="Spr_x00e5_k" ma:index="11" nillable="true" ma:displayName="Språk" ma:format="Dropdown" ma:internalName="Spr_x00e5_k">
      <xsd:simpleType>
        <xsd:restriction base="dms:Choice">
          <xsd:enumeration value="Svenska"/>
          <xsd:enumeration value="English"/>
        </xsd:restriction>
      </xsd:simpleType>
    </xsd:element>
    <xsd:element name="Kategori" ma:index="12" nillable="true" ma:displayName="Kategori" ma:internalName="Kategori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R relaterade"/>
                    <xsd:enumeration value="Vad händer"/>
                    <xsd:enumeration value="Om flygplatsen"/>
                    <xsd:enumeration value="Flygplatsens medarbetare och aktörer"/>
                    <xsd:enumeration value="Kontakta/Ansöka/Beställa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Kategori xmlns="60588277-7eb8-46e1-8d8a-728c5372a59e">
      <Value>Om flygplatsen</Value>
    </Kategori>
    <Spr_x00e5_k xmlns="60588277-7eb8-46e1-8d8a-728c5372a59e">English</Spr_x00e5_k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F49FED3E-AB9F-4FD9-BBE5-FDAA8E40E9C2}"/>
</file>

<file path=customXml/itemProps2.xml><?xml version="1.0" encoding="utf-8"?>
<ds:datastoreItem xmlns:ds="http://schemas.openxmlformats.org/officeDocument/2006/customXml" ds:itemID="{4DD8A96C-3E2A-42A6-923B-3AC13980989B}"/>
</file>

<file path=customXml/itemProps3.xml><?xml version="1.0" encoding="utf-8"?>
<ds:datastoreItem xmlns:ds="http://schemas.openxmlformats.org/officeDocument/2006/customXml" ds:itemID="{972A2F44-E91C-463E-BADB-7F64713B172C}"/>
</file>

<file path=customXml/itemProps4.xml><?xml version="1.0" encoding="utf-8"?>
<ds:datastoreItem xmlns:ds="http://schemas.openxmlformats.org/officeDocument/2006/customXml" ds:itemID="{05DC9A00-BAD7-4780-828A-A0F589E97E9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7</TotalTime>
  <Words>1047</Words>
  <Application>Microsoft Office PowerPoint</Application>
  <PresentationFormat>Bredbild</PresentationFormat>
  <Paragraphs>158</Paragraphs>
  <Slides>13</Slides>
  <Notes>9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3</vt:i4>
      </vt:variant>
    </vt:vector>
  </HeadingPairs>
  <TitlesOfParts>
    <vt:vector size="18" baseType="lpstr">
      <vt:lpstr>Arial</vt:lpstr>
      <vt:lpstr>Arial,Sans-Serif</vt:lpstr>
      <vt:lpstr>Wingdings</vt:lpstr>
      <vt:lpstr>1_Swedavia</vt:lpstr>
      <vt:lpstr>think-cell Slide</vt:lpstr>
      <vt:lpstr>PowerPoint-presentation</vt:lpstr>
      <vt:lpstr>Local adjustments of the EASA recommendations*</vt:lpstr>
      <vt:lpstr>PowerPoint-presentation</vt:lpstr>
      <vt:lpstr>PowerPoint-presentation</vt:lpstr>
      <vt:lpstr>General Communication</vt:lpstr>
      <vt:lpstr>Face masks for passengers</vt:lpstr>
      <vt:lpstr>Safe passenger flows  – from landside to the aircraft and back </vt:lpstr>
      <vt:lpstr>The PRM process is adjusted to reduce the risk of infection</vt:lpstr>
      <vt:lpstr>PowerPoint-presentation</vt:lpstr>
      <vt:lpstr>Reinforced general hygiene measures </vt:lpstr>
      <vt:lpstr>PowerPoint-presentation</vt:lpstr>
      <vt:lpstr>Creating safe environments for passengers and employees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Skoglund, Daniel (ARNP APOC Performance Team)</dc:creator>
  <cp:keywords/>
  <dc:description/>
  <cp:lastModifiedBy>Magnusson, Robert (GOT O P)</cp:lastModifiedBy>
  <cp:revision>125</cp:revision>
  <cp:lastPrinted>2020-06-11T12:05:42Z</cp:lastPrinted>
  <dcterms:created xsi:type="dcterms:W3CDTF">2020-05-11T18:29:06Z</dcterms:created>
  <dcterms:modified xsi:type="dcterms:W3CDTF">2020-12-03T14:3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nhet">
    <vt:lpwstr/>
  </property>
  <property fmtid="{D5CDD505-2E9C-101B-9397-08002B2CF9AE}" pid="3" name="ContentTypeId">
    <vt:lpwstr>0x01010061241A3CA2351844A7E4E0B31F1FB449</vt:lpwstr>
  </property>
  <property fmtid="{D5CDD505-2E9C-101B-9397-08002B2CF9AE}" pid="4" name="Sekretessnivå">
    <vt:lpwstr>577;#Internt|acc4b2fb-87a1-4b4f-a927-c6b8367cb403</vt:lpwstr>
  </property>
  <property fmtid="{D5CDD505-2E9C-101B-9397-08002B2CF9AE}" pid="5" name="_dlc_DocIdItemGuid">
    <vt:lpwstr>9c937599-1f25-4a52-ae0c-573be7afd597</vt:lpwstr>
  </property>
  <property fmtid="{D5CDD505-2E9C-101B-9397-08002B2CF9AE}" pid="6" name="Dokument_Typ">
    <vt:lpwstr/>
  </property>
  <property fmtid="{D5CDD505-2E9C-101B-9397-08002B2CF9AE}" pid="7" name="TaxKeyword">
    <vt:lpwstr/>
  </property>
  <property fmtid="{D5CDD505-2E9C-101B-9397-08002B2CF9AE}" pid="8" name="TaxKeywordTaxHTField">
    <vt:lpwstr/>
  </property>
  <property fmtid="{D5CDD505-2E9C-101B-9397-08002B2CF9AE}" pid="9" name="Status">
    <vt:lpwstr>Fas 3</vt:lpwstr>
  </property>
  <property fmtid="{D5CDD505-2E9C-101B-9397-08002B2CF9AE}" pid="10" name="Mallgrupper">
    <vt:lpwstr>4714;#Grundmallar|1517dc93-a563-46ae-b7cf-91d4e1572443</vt:lpwstr>
  </property>
  <property fmtid="{D5CDD505-2E9C-101B-9397-08002B2CF9AE}" pid="11" name="Mallgrupp">
    <vt:lpwstr>Grundmallar</vt:lpwstr>
  </property>
  <property fmtid="{D5CDD505-2E9C-101B-9397-08002B2CF9AE}" pid="12" name="l9d12847ece741dc8600af0ea4447ee4">
    <vt:lpwstr/>
  </property>
  <property fmtid="{D5CDD505-2E9C-101B-9397-08002B2CF9AE}" pid="13" name="Dokumenttyp">
    <vt:lpwstr/>
  </property>
  <property fmtid="{D5CDD505-2E9C-101B-9397-08002B2CF9AE}" pid="14" name="MSIP_Label_fcde3a35-8da8-4c7f-b979-2f5bf715068f_Enabled">
    <vt:lpwstr>true</vt:lpwstr>
  </property>
  <property fmtid="{D5CDD505-2E9C-101B-9397-08002B2CF9AE}" pid="15" name="MSIP_Label_fcde3a35-8da8-4c7f-b979-2f5bf715068f_SetDate">
    <vt:lpwstr>2020-12-03T14:35:11Z</vt:lpwstr>
  </property>
  <property fmtid="{D5CDD505-2E9C-101B-9397-08002B2CF9AE}" pid="16" name="MSIP_Label_fcde3a35-8da8-4c7f-b979-2f5bf715068f_Method">
    <vt:lpwstr>Privileged</vt:lpwstr>
  </property>
  <property fmtid="{D5CDD505-2E9C-101B-9397-08002B2CF9AE}" pid="17" name="MSIP_Label_fcde3a35-8da8-4c7f-b979-2f5bf715068f_Name">
    <vt:lpwstr>Publik</vt:lpwstr>
  </property>
  <property fmtid="{D5CDD505-2E9C-101B-9397-08002B2CF9AE}" pid="18" name="MSIP_Label_fcde3a35-8da8-4c7f-b979-2f5bf715068f_SiteId">
    <vt:lpwstr>0b3b45c6-70cd-4220-8bf9-a1daee8f0f45</vt:lpwstr>
  </property>
  <property fmtid="{D5CDD505-2E9C-101B-9397-08002B2CF9AE}" pid="19" name="MSIP_Label_fcde3a35-8da8-4c7f-b979-2f5bf715068f_ActionId">
    <vt:lpwstr>2b11605c-47d1-4c68-979b-0000c459efb6</vt:lpwstr>
  </property>
  <property fmtid="{D5CDD505-2E9C-101B-9397-08002B2CF9AE}" pid="20" name="MSIP_Label_fcde3a35-8da8-4c7f-b979-2f5bf715068f_ContentBits">
    <vt:lpwstr>1</vt:lpwstr>
  </property>
</Properties>
</file>